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notesSlides/notesSlide18.xml" ContentType="application/vnd.openxmlformats-officedocument.presentationml.notesSlide+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7"/>
  </p:notesMasterIdLst>
  <p:handoutMasterIdLst>
    <p:handoutMasterId r:id="rId28"/>
  </p:handoutMasterIdLst>
  <p:sldIdLst>
    <p:sldId id="305" r:id="rId2"/>
    <p:sldId id="281" r:id="rId3"/>
    <p:sldId id="314" r:id="rId4"/>
    <p:sldId id="308" r:id="rId5"/>
    <p:sldId id="313" r:id="rId6"/>
    <p:sldId id="315" r:id="rId7"/>
    <p:sldId id="309" r:id="rId8"/>
    <p:sldId id="324" r:id="rId9"/>
    <p:sldId id="328" r:id="rId10"/>
    <p:sldId id="325" r:id="rId11"/>
    <p:sldId id="316" r:id="rId12"/>
    <p:sldId id="323" r:id="rId13"/>
    <p:sldId id="320" r:id="rId14"/>
    <p:sldId id="327" r:id="rId15"/>
    <p:sldId id="317" r:id="rId16"/>
    <p:sldId id="321" r:id="rId17"/>
    <p:sldId id="335" r:id="rId18"/>
    <p:sldId id="318" r:id="rId19"/>
    <p:sldId id="330" r:id="rId20"/>
    <p:sldId id="329" r:id="rId21"/>
    <p:sldId id="331" r:id="rId22"/>
    <p:sldId id="332" r:id="rId23"/>
    <p:sldId id="333" r:id="rId24"/>
    <p:sldId id="319" r:id="rId25"/>
    <p:sldId id="326" r:id="rId26"/>
  </p:sldIdLst>
  <p:sldSz cx="12192000" cy="6858000"/>
  <p:notesSz cx="7104063" cy="10234613"/>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3FF1B7-3648-4124-BB8A-6F3BCE5B4B40}" v="5" dt="2023-11-20T13:49:14.641"/>
  </p1510:revLst>
</p1510:revInfo>
</file>

<file path=ppt/tableStyles.xml><?xml version="1.0" encoding="utf-8"?>
<a:tblStyleLst xmlns:a="http://schemas.openxmlformats.org/drawingml/2006/main" def="{1E171933-4619-4E11-9A3F-F7608DF75F80}">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llemlayout 1 - Marker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6599" autoAdjust="0"/>
  </p:normalViewPr>
  <p:slideViewPr>
    <p:cSldViewPr snapToGrid="0" showGuides="1">
      <p:cViewPr varScale="1">
        <p:scale>
          <a:sx n="87" d="100"/>
          <a:sy n="87" d="100"/>
        </p:scale>
        <p:origin x="1452"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2"/>
        <a:sy n="1" d="2"/>
      </p:scale>
      <p:origin x="0" y="0"/>
    </p:cViewPr>
  </p:sorterViewPr>
  <p:notesViewPr>
    <p:cSldViewPr snapToGrid="0">
      <p:cViewPr varScale="1">
        <p:scale>
          <a:sx n="82" d="100"/>
          <a:sy n="82" d="100"/>
        </p:scale>
        <p:origin x="3926" y="8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bias Brammer" userId="80a1e1bd-3b82-47a5-b259-da62a397db92" providerId="ADAL" clId="{CC804E0E-B381-4A8C-832B-11046074747A}"/>
    <pc:docChg chg="undo custSel addSld delSld modSld sldOrd modMainMaster replTag modNotesMaster">
      <pc:chgData name="Tobias Brammer" userId="80a1e1bd-3b82-47a5-b259-da62a397db92" providerId="ADAL" clId="{CC804E0E-B381-4A8C-832B-11046074747A}" dt="2023-09-29T12:15:28.061" v="11875" actId="20577"/>
      <pc:docMkLst>
        <pc:docMk/>
      </pc:docMkLst>
      <pc:sldChg chg="addSp modSp mod modNotes">
        <pc:chgData name="Tobias Brammer" userId="80a1e1bd-3b82-47a5-b259-da62a397db92" providerId="ADAL" clId="{CC804E0E-B381-4A8C-832B-11046074747A}" dt="2023-09-27T09:46:46.057" v="10811" actId="1076"/>
        <pc:sldMkLst>
          <pc:docMk/>
          <pc:sldMk cId="2641621532" sldId="281"/>
        </pc:sldMkLst>
        <pc:spChg chg="mod">
          <ac:chgData name="Tobias Brammer" userId="80a1e1bd-3b82-47a5-b259-da62a397db92" providerId="ADAL" clId="{CC804E0E-B381-4A8C-832B-11046074747A}" dt="2023-09-27T07:47:25.262" v="1948" actId="948"/>
          <ac:spMkLst>
            <pc:docMk/>
            <pc:sldMk cId="2641621532" sldId="281"/>
            <ac:spMk id="2" creationId="{3C6F285B-6BE8-47BE-BAD4-8ACEEFC175A8}"/>
          </ac:spMkLst>
        </pc:spChg>
        <pc:spChg chg="add mod">
          <ac:chgData name="Tobias Brammer" userId="80a1e1bd-3b82-47a5-b259-da62a397db92" providerId="ADAL" clId="{CC804E0E-B381-4A8C-832B-11046074747A}" dt="2023-09-27T07:41:35.876" v="1753" actId="164"/>
          <ac:spMkLst>
            <pc:docMk/>
            <pc:sldMk cId="2641621532" sldId="281"/>
            <ac:spMk id="4" creationId="{17B773D2-7093-DA26-F33E-B2F587C7ADFD}"/>
          </ac:spMkLst>
        </pc:spChg>
        <pc:spChg chg="add mod">
          <ac:chgData name="Tobias Brammer" userId="80a1e1bd-3b82-47a5-b259-da62a397db92" providerId="ADAL" clId="{CC804E0E-B381-4A8C-832B-11046074747A}" dt="2023-09-27T07:44:45.529" v="1835" actId="20577"/>
          <ac:spMkLst>
            <pc:docMk/>
            <pc:sldMk cId="2641621532" sldId="281"/>
            <ac:spMk id="5" creationId="{91DA30A7-B235-0097-CCB7-65E8CA40C29B}"/>
          </ac:spMkLst>
        </pc:spChg>
        <pc:spChg chg="mod">
          <ac:chgData name="Tobias Brammer" userId="80a1e1bd-3b82-47a5-b259-da62a397db92" providerId="ADAL" clId="{CC804E0E-B381-4A8C-832B-11046074747A}" dt="2023-09-27T07:40:49.790" v="1746" actId="164"/>
          <ac:spMkLst>
            <pc:docMk/>
            <pc:sldMk cId="2641621532" sldId="281"/>
            <ac:spMk id="6" creationId="{CDC222EA-31E5-4543-973D-6351289EEE35}"/>
          </ac:spMkLst>
        </pc:spChg>
        <pc:spChg chg="mod">
          <ac:chgData name="Tobias Brammer" userId="80a1e1bd-3b82-47a5-b259-da62a397db92" providerId="ADAL" clId="{CC804E0E-B381-4A8C-832B-11046074747A}" dt="2023-09-27T07:44:51.105" v="1839" actId="20577"/>
          <ac:spMkLst>
            <pc:docMk/>
            <pc:sldMk cId="2641621532" sldId="281"/>
            <ac:spMk id="7" creationId="{F787AB7F-95DA-4686-8C4E-D8E93F97EFAD}"/>
          </ac:spMkLst>
        </pc:spChg>
        <pc:spChg chg="mod">
          <ac:chgData name="Tobias Brammer" userId="80a1e1bd-3b82-47a5-b259-da62a397db92" providerId="ADAL" clId="{CC804E0E-B381-4A8C-832B-11046074747A}" dt="2023-09-27T07:41:19.683" v="1748" actId="164"/>
          <ac:spMkLst>
            <pc:docMk/>
            <pc:sldMk cId="2641621532" sldId="281"/>
            <ac:spMk id="8" creationId="{8E492FCB-C2C0-467D-A668-B1FD59DC4F32}"/>
          </ac:spMkLst>
        </pc:spChg>
        <pc:spChg chg="mod">
          <ac:chgData name="Tobias Brammer" userId="80a1e1bd-3b82-47a5-b259-da62a397db92" providerId="ADAL" clId="{CC804E0E-B381-4A8C-832B-11046074747A}" dt="2023-09-27T07:44:49.721" v="1838" actId="20577"/>
          <ac:spMkLst>
            <pc:docMk/>
            <pc:sldMk cId="2641621532" sldId="281"/>
            <ac:spMk id="9" creationId="{8140DF04-B4DC-4986-9C6D-DDE15FD1CA31}"/>
          </ac:spMkLst>
        </pc:spChg>
        <pc:spChg chg="mod">
          <ac:chgData name="Tobias Brammer" userId="80a1e1bd-3b82-47a5-b259-da62a397db92" providerId="ADAL" clId="{CC804E0E-B381-4A8C-832B-11046074747A}" dt="2023-09-27T07:41:47.478" v="1756" actId="164"/>
          <ac:spMkLst>
            <pc:docMk/>
            <pc:sldMk cId="2641621532" sldId="281"/>
            <ac:spMk id="10" creationId="{CBA4467F-4AF6-4FDA-A3A1-6FFF686B5694}"/>
          </ac:spMkLst>
        </pc:spChg>
        <pc:spChg chg="mod">
          <ac:chgData name="Tobias Brammer" userId="80a1e1bd-3b82-47a5-b259-da62a397db92" providerId="ADAL" clId="{CC804E0E-B381-4A8C-832B-11046074747A}" dt="2023-09-27T07:44:48.262" v="1837" actId="20577"/>
          <ac:spMkLst>
            <pc:docMk/>
            <pc:sldMk cId="2641621532" sldId="281"/>
            <ac:spMk id="11" creationId="{8EF3D609-41B5-4A56-8942-7DC08C4DC25A}"/>
          </ac:spMkLst>
        </pc:spChg>
        <pc:spChg chg="mod">
          <ac:chgData name="Tobias Brammer" userId="80a1e1bd-3b82-47a5-b259-da62a397db92" providerId="ADAL" clId="{CC804E0E-B381-4A8C-832B-11046074747A}" dt="2023-09-27T07:41:30.176" v="1751" actId="164"/>
          <ac:spMkLst>
            <pc:docMk/>
            <pc:sldMk cId="2641621532" sldId="281"/>
            <ac:spMk id="12" creationId="{702BF8D8-1F1E-4939-B5E8-A6D1C6691326}"/>
          </ac:spMkLst>
        </pc:spChg>
        <pc:spChg chg="mod">
          <ac:chgData name="Tobias Brammer" userId="80a1e1bd-3b82-47a5-b259-da62a397db92" providerId="ADAL" clId="{CC804E0E-B381-4A8C-832B-11046074747A}" dt="2023-09-27T07:44:47.017" v="1836" actId="20577"/>
          <ac:spMkLst>
            <pc:docMk/>
            <pc:sldMk cId="2641621532" sldId="281"/>
            <ac:spMk id="13" creationId="{50C5CCBA-0874-4BEE-99C2-CC4082D3A1FF}"/>
          </ac:spMkLst>
        </pc:spChg>
        <pc:spChg chg="add mod">
          <ac:chgData name="Tobias Brammer" userId="80a1e1bd-3b82-47a5-b259-da62a397db92" providerId="ADAL" clId="{CC804E0E-B381-4A8C-832B-11046074747A}" dt="2023-09-27T07:41:45.097" v="1755" actId="571"/>
          <ac:spMkLst>
            <pc:docMk/>
            <pc:sldMk cId="2641621532" sldId="281"/>
            <ac:spMk id="18" creationId="{66BC70B2-F69E-072B-651A-92370B8C4E0F}"/>
          </ac:spMkLst>
        </pc:spChg>
        <pc:spChg chg="add mod">
          <ac:chgData name="Tobias Brammer" userId="80a1e1bd-3b82-47a5-b259-da62a397db92" providerId="ADAL" clId="{CC804E0E-B381-4A8C-832B-11046074747A}" dt="2023-09-27T07:41:45.097" v="1755" actId="571"/>
          <ac:spMkLst>
            <pc:docMk/>
            <pc:sldMk cId="2641621532" sldId="281"/>
            <ac:spMk id="19" creationId="{A330310C-83DD-02CD-66DB-C8B1A596AC05}"/>
          </ac:spMkLst>
        </pc:spChg>
        <pc:spChg chg="mod">
          <ac:chgData name="Tobias Brammer" userId="80a1e1bd-3b82-47a5-b259-da62a397db92" providerId="ADAL" clId="{CC804E0E-B381-4A8C-832B-11046074747A}" dt="2023-09-27T07:41:54.182" v="1758" actId="571"/>
          <ac:spMkLst>
            <pc:docMk/>
            <pc:sldMk cId="2641621532" sldId="281"/>
            <ac:spMk id="23" creationId="{62D40069-15AC-5C69-5224-3A8263D88E89}"/>
          </ac:spMkLst>
        </pc:spChg>
        <pc:spChg chg="mod">
          <ac:chgData name="Tobias Brammer" userId="80a1e1bd-3b82-47a5-b259-da62a397db92" providerId="ADAL" clId="{CC804E0E-B381-4A8C-832B-11046074747A}" dt="2023-09-27T07:41:54.182" v="1758" actId="571"/>
          <ac:spMkLst>
            <pc:docMk/>
            <pc:sldMk cId="2641621532" sldId="281"/>
            <ac:spMk id="24" creationId="{6736DFBD-B194-6980-28E5-D51D69EC9CE3}"/>
          </ac:spMkLst>
        </pc:spChg>
        <pc:spChg chg="mod">
          <ac:chgData name="Tobias Brammer" userId="80a1e1bd-3b82-47a5-b259-da62a397db92" providerId="ADAL" clId="{CC804E0E-B381-4A8C-832B-11046074747A}" dt="2023-09-27T07:41:54.182" v="1758" actId="571"/>
          <ac:spMkLst>
            <pc:docMk/>
            <pc:sldMk cId="2641621532" sldId="281"/>
            <ac:spMk id="26" creationId="{A2A2498E-536C-37A3-0B4F-452E4A35DF90}"/>
          </ac:spMkLst>
        </pc:spChg>
        <pc:spChg chg="mod">
          <ac:chgData name="Tobias Brammer" userId="80a1e1bd-3b82-47a5-b259-da62a397db92" providerId="ADAL" clId="{CC804E0E-B381-4A8C-832B-11046074747A}" dt="2023-09-27T07:41:54.182" v="1758" actId="571"/>
          <ac:spMkLst>
            <pc:docMk/>
            <pc:sldMk cId="2641621532" sldId="281"/>
            <ac:spMk id="27" creationId="{EB87A24D-3A61-8FBF-2EAE-17E190C5C4FE}"/>
          </ac:spMkLst>
        </pc:spChg>
        <pc:spChg chg="mod">
          <ac:chgData name="Tobias Brammer" userId="80a1e1bd-3b82-47a5-b259-da62a397db92" providerId="ADAL" clId="{CC804E0E-B381-4A8C-832B-11046074747A}" dt="2023-09-27T07:41:54.182" v="1758" actId="571"/>
          <ac:spMkLst>
            <pc:docMk/>
            <pc:sldMk cId="2641621532" sldId="281"/>
            <ac:spMk id="29" creationId="{BF35BC62-F672-0429-097C-DAD834DFEA52}"/>
          </ac:spMkLst>
        </pc:spChg>
        <pc:spChg chg="mod">
          <ac:chgData name="Tobias Brammer" userId="80a1e1bd-3b82-47a5-b259-da62a397db92" providerId="ADAL" clId="{CC804E0E-B381-4A8C-832B-11046074747A}" dt="2023-09-27T07:41:54.182" v="1758" actId="571"/>
          <ac:spMkLst>
            <pc:docMk/>
            <pc:sldMk cId="2641621532" sldId="281"/>
            <ac:spMk id="30" creationId="{25E794F6-0BE5-879C-563A-DD20388C1DEA}"/>
          </ac:spMkLst>
        </pc:spChg>
        <pc:spChg chg="mod">
          <ac:chgData name="Tobias Brammer" userId="80a1e1bd-3b82-47a5-b259-da62a397db92" providerId="ADAL" clId="{CC804E0E-B381-4A8C-832B-11046074747A}" dt="2023-09-27T07:41:54.182" v="1758" actId="571"/>
          <ac:spMkLst>
            <pc:docMk/>
            <pc:sldMk cId="2641621532" sldId="281"/>
            <ac:spMk id="32" creationId="{9AC56617-4B2B-3761-59AF-FC7F9F170003}"/>
          </ac:spMkLst>
        </pc:spChg>
        <pc:spChg chg="mod">
          <ac:chgData name="Tobias Brammer" userId="80a1e1bd-3b82-47a5-b259-da62a397db92" providerId="ADAL" clId="{CC804E0E-B381-4A8C-832B-11046074747A}" dt="2023-09-27T07:41:54.182" v="1758" actId="571"/>
          <ac:spMkLst>
            <pc:docMk/>
            <pc:sldMk cId="2641621532" sldId="281"/>
            <ac:spMk id="33" creationId="{2120B3B7-8BEF-5D57-CB9F-7E51D89E46BC}"/>
          </ac:spMkLst>
        </pc:spChg>
        <pc:spChg chg="mod">
          <ac:chgData name="Tobias Brammer" userId="80a1e1bd-3b82-47a5-b259-da62a397db92" providerId="ADAL" clId="{CC804E0E-B381-4A8C-832B-11046074747A}" dt="2023-09-27T07:41:54.182" v="1758" actId="571"/>
          <ac:spMkLst>
            <pc:docMk/>
            <pc:sldMk cId="2641621532" sldId="281"/>
            <ac:spMk id="35" creationId="{7BBB52CD-B5A0-7FFB-5A01-17D8986D918B}"/>
          </ac:spMkLst>
        </pc:spChg>
        <pc:spChg chg="mod">
          <ac:chgData name="Tobias Brammer" userId="80a1e1bd-3b82-47a5-b259-da62a397db92" providerId="ADAL" clId="{CC804E0E-B381-4A8C-832B-11046074747A}" dt="2023-09-27T07:41:54.182" v="1758" actId="571"/>
          <ac:spMkLst>
            <pc:docMk/>
            <pc:sldMk cId="2641621532" sldId="281"/>
            <ac:spMk id="36" creationId="{95E393E3-412F-5218-4FF9-452F19661D13}"/>
          </ac:spMkLst>
        </pc:spChg>
        <pc:spChg chg="mod">
          <ac:chgData name="Tobias Brammer" userId="80a1e1bd-3b82-47a5-b259-da62a397db92" providerId="ADAL" clId="{CC804E0E-B381-4A8C-832B-11046074747A}" dt="2023-09-27T07:44:00.814" v="1815" actId="571"/>
          <ac:spMkLst>
            <pc:docMk/>
            <pc:sldMk cId="2641621532" sldId="281"/>
            <ac:spMk id="38" creationId="{0F69AEB1-70B9-DDC2-1D65-B598EDAFEE86}"/>
          </ac:spMkLst>
        </pc:spChg>
        <pc:spChg chg="mod">
          <ac:chgData name="Tobias Brammer" userId="80a1e1bd-3b82-47a5-b259-da62a397db92" providerId="ADAL" clId="{CC804E0E-B381-4A8C-832B-11046074747A}" dt="2023-09-27T07:44:00.814" v="1815" actId="571"/>
          <ac:spMkLst>
            <pc:docMk/>
            <pc:sldMk cId="2641621532" sldId="281"/>
            <ac:spMk id="39" creationId="{B60FFE8B-0CB6-75E7-6614-1A86EA33FA46}"/>
          </ac:spMkLst>
        </pc:spChg>
        <pc:spChg chg="mod">
          <ac:chgData name="Tobias Brammer" userId="80a1e1bd-3b82-47a5-b259-da62a397db92" providerId="ADAL" clId="{CC804E0E-B381-4A8C-832B-11046074747A}" dt="2023-09-27T07:44:00.814" v="1815" actId="571"/>
          <ac:spMkLst>
            <pc:docMk/>
            <pc:sldMk cId="2641621532" sldId="281"/>
            <ac:spMk id="41" creationId="{5491C0E5-7A3A-B9B2-768D-1935CC1531BD}"/>
          </ac:spMkLst>
        </pc:spChg>
        <pc:spChg chg="mod">
          <ac:chgData name="Tobias Brammer" userId="80a1e1bd-3b82-47a5-b259-da62a397db92" providerId="ADAL" clId="{CC804E0E-B381-4A8C-832B-11046074747A}" dt="2023-09-27T07:44:00.814" v="1815" actId="571"/>
          <ac:spMkLst>
            <pc:docMk/>
            <pc:sldMk cId="2641621532" sldId="281"/>
            <ac:spMk id="42" creationId="{CE01CB96-6689-30DE-1746-42C93BE6BC95}"/>
          </ac:spMkLst>
        </pc:spChg>
        <pc:spChg chg="mod">
          <ac:chgData name="Tobias Brammer" userId="80a1e1bd-3b82-47a5-b259-da62a397db92" providerId="ADAL" clId="{CC804E0E-B381-4A8C-832B-11046074747A}" dt="2023-09-27T07:44:36.846" v="1831" actId="20577"/>
          <ac:spMkLst>
            <pc:docMk/>
            <pc:sldMk cId="2641621532" sldId="281"/>
            <ac:spMk id="44" creationId="{D4413DAA-FF4B-72CF-2B47-6E8B26147098}"/>
          </ac:spMkLst>
        </pc:spChg>
        <pc:spChg chg="mod">
          <ac:chgData name="Tobias Brammer" userId="80a1e1bd-3b82-47a5-b259-da62a397db92" providerId="ADAL" clId="{CC804E0E-B381-4A8C-832B-11046074747A}" dt="2023-09-27T07:44:43.901" v="1834" actId="20577"/>
          <ac:spMkLst>
            <pc:docMk/>
            <pc:sldMk cId="2641621532" sldId="281"/>
            <ac:spMk id="45" creationId="{7D44CCBE-33B5-1195-B0AA-7EE1E6AD8555}"/>
          </ac:spMkLst>
        </pc:spChg>
        <pc:spChg chg="mod">
          <ac:chgData name="Tobias Brammer" userId="80a1e1bd-3b82-47a5-b259-da62a397db92" providerId="ADAL" clId="{CC804E0E-B381-4A8C-832B-11046074747A}" dt="2023-09-27T07:44:59.443" v="1842" actId="571"/>
          <ac:spMkLst>
            <pc:docMk/>
            <pc:sldMk cId="2641621532" sldId="281"/>
            <ac:spMk id="47" creationId="{671B7100-4980-3B4A-7840-FFB37CA8AFBF}"/>
          </ac:spMkLst>
        </pc:spChg>
        <pc:spChg chg="mod">
          <ac:chgData name="Tobias Brammer" userId="80a1e1bd-3b82-47a5-b259-da62a397db92" providerId="ADAL" clId="{CC804E0E-B381-4A8C-832B-11046074747A}" dt="2023-09-27T07:44:59.443" v="1842" actId="571"/>
          <ac:spMkLst>
            <pc:docMk/>
            <pc:sldMk cId="2641621532" sldId="281"/>
            <ac:spMk id="48" creationId="{FB795917-FBAE-B94C-C040-3E146C6A39B3}"/>
          </ac:spMkLst>
        </pc:spChg>
        <pc:spChg chg="mod">
          <ac:chgData name="Tobias Brammer" userId="80a1e1bd-3b82-47a5-b259-da62a397db92" providerId="ADAL" clId="{CC804E0E-B381-4A8C-832B-11046074747A}" dt="2023-09-27T07:44:59.443" v="1842" actId="571"/>
          <ac:spMkLst>
            <pc:docMk/>
            <pc:sldMk cId="2641621532" sldId="281"/>
            <ac:spMk id="50" creationId="{40DAB4CE-AE03-769B-ABD6-4678C799FEC3}"/>
          </ac:spMkLst>
        </pc:spChg>
        <pc:spChg chg="mod">
          <ac:chgData name="Tobias Brammer" userId="80a1e1bd-3b82-47a5-b259-da62a397db92" providerId="ADAL" clId="{CC804E0E-B381-4A8C-832B-11046074747A}" dt="2023-09-27T07:44:59.443" v="1842" actId="571"/>
          <ac:spMkLst>
            <pc:docMk/>
            <pc:sldMk cId="2641621532" sldId="281"/>
            <ac:spMk id="51" creationId="{3A9BC99C-9CCB-E689-A369-A5C5C6076A4D}"/>
          </ac:spMkLst>
        </pc:spChg>
        <pc:spChg chg="mod">
          <ac:chgData name="Tobias Brammer" userId="80a1e1bd-3b82-47a5-b259-da62a397db92" providerId="ADAL" clId="{CC804E0E-B381-4A8C-832B-11046074747A}" dt="2023-09-27T07:44:59.443" v="1842" actId="571"/>
          <ac:spMkLst>
            <pc:docMk/>
            <pc:sldMk cId="2641621532" sldId="281"/>
            <ac:spMk id="53" creationId="{ED6CC9FB-FC7F-D8A0-5F6E-B1BA98C6C915}"/>
          </ac:spMkLst>
        </pc:spChg>
        <pc:spChg chg="mod">
          <ac:chgData name="Tobias Brammer" userId="80a1e1bd-3b82-47a5-b259-da62a397db92" providerId="ADAL" clId="{CC804E0E-B381-4A8C-832B-11046074747A}" dt="2023-09-27T07:44:59.443" v="1842" actId="571"/>
          <ac:spMkLst>
            <pc:docMk/>
            <pc:sldMk cId="2641621532" sldId="281"/>
            <ac:spMk id="54" creationId="{C2EEBE94-CF2B-2853-4C38-97D9B9C881EA}"/>
          </ac:spMkLst>
        </pc:spChg>
        <pc:grpChg chg="add mod">
          <ac:chgData name="Tobias Brammer" userId="80a1e1bd-3b82-47a5-b259-da62a397db92" providerId="ADAL" clId="{CC804E0E-B381-4A8C-832B-11046074747A}" dt="2023-09-27T07:45:24.707" v="1850" actId="552"/>
          <ac:grpSpMkLst>
            <pc:docMk/>
            <pc:sldMk cId="2641621532" sldId="281"/>
            <ac:grpSpMk id="14" creationId="{7CEE374C-5917-09BD-B5D9-107D1E3A6ED2}"/>
          </ac:grpSpMkLst>
        </pc:grpChg>
        <pc:grpChg chg="add mod">
          <ac:chgData name="Tobias Brammer" userId="80a1e1bd-3b82-47a5-b259-da62a397db92" providerId="ADAL" clId="{CC804E0E-B381-4A8C-832B-11046074747A}" dt="2023-09-27T07:45:24.707" v="1850" actId="552"/>
          <ac:grpSpMkLst>
            <pc:docMk/>
            <pc:sldMk cId="2641621532" sldId="281"/>
            <ac:grpSpMk id="15" creationId="{31A07AD4-F313-5F14-03C6-7AE238C5F9A2}"/>
          </ac:grpSpMkLst>
        </pc:grpChg>
        <pc:grpChg chg="add mod">
          <ac:chgData name="Tobias Brammer" userId="80a1e1bd-3b82-47a5-b259-da62a397db92" providerId="ADAL" clId="{CC804E0E-B381-4A8C-832B-11046074747A}" dt="2023-09-27T07:45:24.707" v="1850" actId="552"/>
          <ac:grpSpMkLst>
            <pc:docMk/>
            <pc:sldMk cId="2641621532" sldId="281"/>
            <ac:grpSpMk id="16" creationId="{15E5C138-4E2B-EF16-84F2-7070BB9B97CE}"/>
          </ac:grpSpMkLst>
        </pc:grpChg>
        <pc:grpChg chg="add mod">
          <ac:chgData name="Tobias Brammer" userId="80a1e1bd-3b82-47a5-b259-da62a397db92" providerId="ADAL" clId="{CC804E0E-B381-4A8C-832B-11046074747A}" dt="2023-09-27T07:45:24.707" v="1850" actId="552"/>
          <ac:grpSpMkLst>
            <pc:docMk/>
            <pc:sldMk cId="2641621532" sldId="281"/>
            <ac:grpSpMk id="17" creationId="{5C0F3608-73C1-89D6-DD55-D3BBE3D0DAC4}"/>
          </ac:grpSpMkLst>
        </pc:grpChg>
        <pc:grpChg chg="add mod">
          <ac:chgData name="Tobias Brammer" userId="80a1e1bd-3b82-47a5-b259-da62a397db92" providerId="ADAL" clId="{CC804E0E-B381-4A8C-832B-11046074747A}" dt="2023-09-27T07:45:24.707" v="1850" actId="552"/>
          <ac:grpSpMkLst>
            <pc:docMk/>
            <pc:sldMk cId="2641621532" sldId="281"/>
            <ac:grpSpMk id="20" creationId="{A6020B42-58A9-EAE4-26F1-5165CA82BFCC}"/>
          </ac:grpSpMkLst>
        </pc:grpChg>
        <pc:grpChg chg="add mod">
          <ac:chgData name="Tobias Brammer" userId="80a1e1bd-3b82-47a5-b259-da62a397db92" providerId="ADAL" clId="{CC804E0E-B381-4A8C-832B-11046074747A}" dt="2023-09-27T07:41:54.182" v="1758" actId="571"/>
          <ac:grpSpMkLst>
            <pc:docMk/>
            <pc:sldMk cId="2641621532" sldId="281"/>
            <ac:grpSpMk id="21" creationId="{170E333F-FC1E-EF4D-49CE-A51EC051D293}"/>
          </ac:grpSpMkLst>
        </pc:grpChg>
        <pc:grpChg chg="add mod">
          <ac:chgData name="Tobias Brammer" userId="80a1e1bd-3b82-47a5-b259-da62a397db92" providerId="ADAL" clId="{CC804E0E-B381-4A8C-832B-11046074747A}" dt="2023-09-27T07:41:54.182" v="1758" actId="571"/>
          <ac:grpSpMkLst>
            <pc:docMk/>
            <pc:sldMk cId="2641621532" sldId="281"/>
            <ac:grpSpMk id="25" creationId="{48D3E07F-EF1D-516B-D768-413DBFFB30C0}"/>
          </ac:grpSpMkLst>
        </pc:grpChg>
        <pc:grpChg chg="add mod">
          <ac:chgData name="Tobias Brammer" userId="80a1e1bd-3b82-47a5-b259-da62a397db92" providerId="ADAL" clId="{CC804E0E-B381-4A8C-832B-11046074747A}" dt="2023-09-27T07:41:54.182" v="1758" actId="571"/>
          <ac:grpSpMkLst>
            <pc:docMk/>
            <pc:sldMk cId="2641621532" sldId="281"/>
            <ac:grpSpMk id="28" creationId="{3394412A-D300-F311-5AA1-2CD8F4FCB5EC}"/>
          </ac:grpSpMkLst>
        </pc:grpChg>
        <pc:grpChg chg="add mod">
          <ac:chgData name="Tobias Brammer" userId="80a1e1bd-3b82-47a5-b259-da62a397db92" providerId="ADAL" clId="{CC804E0E-B381-4A8C-832B-11046074747A}" dt="2023-09-27T07:41:54.182" v="1758" actId="571"/>
          <ac:grpSpMkLst>
            <pc:docMk/>
            <pc:sldMk cId="2641621532" sldId="281"/>
            <ac:grpSpMk id="31" creationId="{78ED1465-9174-EAE2-3147-A4B5F8F5630F}"/>
          </ac:grpSpMkLst>
        </pc:grpChg>
        <pc:grpChg chg="add mod">
          <ac:chgData name="Tobias Brammer" userId="80a1e1bd-3b82-47a5-b259-da62a397db92" providerId="ADAL" clId="{CC804E0E-B381-4A8C-832B-11046074747A}" dt="2023-09-27T07:41:54.182" v="1758" actId="571"/>
          <ac:grpSpMkLst>
            <pc:docMk/>
            <pc:sldMk cId="2641621532" sldId="281"/>
            <ac:grpSpMk id="34" creationId="{123DA83F-9A38-D0E7-3946-1CFDD27FE64E}"/>
          </ac:grpSpMkLst>
        </pc:grpChg>
        <pc:grpChg chg="add mod">
          <ac:chgData name="Tobias Brammer" userId="80a1e1bd-3b82-47a5-b259-da62a397db92" providerId="ADAL" clId="{CC804E0E-B381-4A8C-832B-11046074747A}" dt="2023-09-27T07:44:00.814" v="1815" actId="571"/>
          <ac:grpSpMkLst>
            <pc:docMk/>
            <pc:sldMk cId="2641621532" sldId="281"/>
            <ac:grpSpMk id="37" creationId="{C8D735D6-45DC-D629-FA15-E32185C4B584}"/>
          </ac:grpSpMkLst>
        </pc:grpChg>
        <pc:grpChg chg="add mod">
          <ac:chgData name="Tobias Brammer" userId="80a1e1bd-3b82-47a5-b259-da62a397db92" providerId="ADAL" clId="{CC804E0E-B381-4A8C-832B-11046074747A}" dt="2023-09-27T07:44:00.814" v="1815" actId="571"/>
          <ac:grpSpMkLst>
            <pc:docMk/>
            <pc:sldMk cId="2641621532" sldId="281"/>
            <ac:grpSpMk id="40" creationId="{189B04F0-E999-D509-97C9-94C71FEA7D8A}"/>
          </ac:grpSpMkLst>
        </pc:grpChg>
        <pc:grpChg chg="add mod">
          <ac:chgData name="Tobias Brammer" userId="80a1e1bd-3b82-47a5-b259-da62a397db92" providerId="ADAL" clId="{CC804E0E-B381-4A8C-832B-11046074747A}" dt="2023-09-27T07:45:24.707" v="1850" actId="552"/>
          <ac:grpSpMkLst>
            <pc:docMk/>
            <pc:sldMk cId="2641621532" sldId="281"/>
            <ac:grpSpMk id="43" creationId="{A746D0A9-077D-3E6F-A06F-DCF1AEF966A3}"/>
          </ac:grpSpMkLst>
        </pc:grpChg>
        <pc:grpChg chg="add mod">
          <ac:chgData name="Tobias Brammer" userId="80a1e1bd-3b82-47a5-b259-da62a397db92" providerId="ADAL" clId="{CC804E0E-B381-4A8C-832B-11046074747A}" dt="2023-09-27T07:44:59.443" v="1842" actId="571"/>
          <ac:grpSpMkLst>
            <pc:docMk/>
            <pc:sldMk cId="2641621532" sldId="281"/>
            <ac:grpSpMk id="46" creationId="{0C1A959D-BAEE-31D0-3A16-4F027BF5EF0C}"/>
          </ac:grpSpMkLst>
        </pc:grpChg>
        <pc:grpChg chg="add mod">
          <ac:chgData name="Tobias Brammer" userId="80a1e1bd-3b82-47a5-b259-da62a397db92" providerId="ADAL" clId="{CC804E0E-B381-4A8C-832B-11046074747A}" dt="2023-09-27T07:44:59.443" v="1842" actId="571"/>
          <ac:grpSpMkLst>
            <pc:docMk/>
            <pc:sldMk cId="2641621532" sldId="281"/>
            <ac:grpSpMk id="49" creationId="{90E828F7-37C9-BFBC-167A-4CB78D7EE591}"/>
          </ac:grpSpMkLst>
        </pc:grpChg>
        <pc:grpChg chg="add mod">
          <ac:chgData name="Tobias Brammer" userId="80a1e1bd-3b82-47a5-b259-da62a397db92" providerId="ADAL" clId="{CC804E0E-B381-4A8C-832B-11046074747A}" dt="2023-09-27T07:44:59.443" v="1842" actId="571"/>
          <ac:grpSpMkLst>
            <pc:docMk/>
            <pc:sldMk cId="2641621532" sldId="281"/>
            <ac:grpSpMk id="52" creationId="{3399D3AF-1248-A045-AC67-8AD932F7F445}"/>
          </ac:grpSpMkLst>
        </pc:grpChg>
        <pc:graphicFrameChg chg="mod">
          <ac:chgData name="Tobias Brammer" userId="80a1e1bd-3b82-47a5-b259-da62a397db92" providerId="ADAL" clId="{CC804E0E-B381-4A8C-832B-11046074747A}" dt="2023-09-27T07:47:25.262" v="1952"/>
          <ac:graphicFrameMkLst>
            <pc:docMk/>
            <pc:sldMk cId="2641621532" sldId="281"/>
            <ac:graphicFrameMk id="3" creationId="{AB86B848-EDE9-F4A9-108A-F58D243B51C5}"/>
          </ac:graphicFrameMkLst>
        </pc:graphicFrameChg>
        <pc:picChg chg="mod">
          <ac:chgData name="Tobias Brammer" userId="80a1e1bd-3b82-47a5-b259-da62a397db92" providerId="ADAL" clId="{CC804E0E-B381-4A8C-832B-11046074747A}" dt="2023-09-27T09:46:46.057" v="10811" actId="1076"/>
          <ac:picMkLst>
            <pc:docMk/>
            <pc:sldMk cId="2641621532" sldId="281"/>
            <ac:picMk id="22" creationId="{5CEAF9BE-0C77-42EF-A843-2DD67A37E7E0}"/>
          </ac:picMkLst>
        </pc:picChg>
      </pc:sldChg>
      <pc:sldChg chg="addSp delSp modSp mod modNotes modNotesTx">
        <pc:chgData name="Tobias Brammer" userId="80a1e1bd-3b82-47a5-b259-da62a397db92" providerId="ADAL" clId="{CC804E0E-B381-4A8C-832B-11046074747A}" dt="2023-09-27T09:48:57.062" v="10831" actId="29295"/>
        <pc:sldMkLst>
          <pc:docMk/>
          <pc:sldMk cId="1982481699" sldId="305"/>
        </pc:sldMkLst>
        <pc:spChg chg="add del mod modVis">
          <ac:chgData name="Tobias Brammer" userId="80a1e1bd-3b82-47a5-b259-da62a397db92" providerId="ADAL" clId="{CC804E0E-B381-4A8C-832B-11046074747A}" dt="2023-09-27T07:38:14.940" v="73"/>
          <ac:spMkLst>
            <pc:docMk/>
            <pc:sldMk cId="1982481699" sldId="305"/>
            <ac:spMk id="3" creationId="{6F9CC8FD-74E0-9461-6DD4-B537A8D62265}"/>
          </ac:spMkLst>
        </pc:spChg>
        <pc:spChg chg="add del mod modVis">
          <ac:chgData name="Tobias Brammer" userId="80a1e1bd-3b82-47a5-b259-da62a397db92" providerId="ADAL" clId="{CC804E0E-B381-4A8C-832B-11046074747A}" dt="2023-09-27T07:38:15.648" v="120"/>
          <ac:spMkLst>
            <pc:docMk/>
            <pc:sldMk cId="1982481699" sldId="305"/>
            <ac:spMk id="4" creationId="{AD84FF8E-D357-D9BB-E31E-FC6A9C65D363}"/>
          </ac:spMkLst>
        </pc:spChg>
        <pc:spChg chg="add del mod modVis">
          <ac:chgData name="Tobias Brammer" userId="80a1e1bd-3b82-47a5-b259-da62a397db92" providerId="ADAL" clId="{CC804E0E-B381-4A8C-832B-11046074747A}" dt="2023-09-27T07:38:16.651" v="168"/>
          <ac:spMkLst>
            <pc:docMk/>
            <pc:sldMk cId="1982481699" sldId="305"/>
            <ac:spMk id="5" creationId="{6A983C18-EBCF-807E-B7FB-7AFBA5A8F7EF}"/>
          </ac:spMkLst>
        </pc:spChg>
        <pc:spChg chg="add del mod modVis">
          <ac:chgData name="Tobias Brammer" userId="80a1e1bd-3b82-47a5-b259-da62a397db92" providerId="ADAL" clId="{CC804E0E-B381-4A8C-832B-11046074747A}" dt="2023-09-27T07:38:17.278" v="214"/>
          <ac:spMkLst>
            <pc:docMk/>
            <pc:sldMk cId="1982481699" sldId="305"/>
            <ac:spMk id="6" creationId="{49648365-C9B4-C0DF-2447-0B7766035CFE}"/>
          </ac:spMkLst>
        </pc:spChg>
        <pc:spChg chg="mod">
          <ac:chgData name="Tobias Brammer" userId="80a1e1bd-3b82-47a5-b259-da62a397db92" providerId="ADAL" clId="{CC804E0E-B381-4A8C-832B-11046074747A}" dt="2023-09-27T07:39:01.591" v="367" actId="947"/>
          <ac:spMkLst>
            <pc:docMk/>
            <pc:sldMk cId="1982481699" sldId="305"/>
            <ac:spMk id="7" creationId="{0B924460-1A6C-4030-8DE0-387B74186E08}"/>
          </ac:spMkLst>
        </pc:spChg>
        <pc:spChg chg="mod">
          <ac:chgData name="Tobias Brammer" userId="80a1e1bd-3b82-47a5-b259-da62a397db92" providerId="ADAL" clId="{CC804E0E-B381-4A8C-832B-11046074747A}" dt="2023-09-27T07:39:01.591" v="371" actId="20577"/>
          <ac:spMkLst>
            <pc:docMk/>
            <pc:sldMk cId="1982481699" sldId="305"/>
            <ac:spMk id="8" creationId="{08D4D0AD-0A75-4D15-8D92-457BD4B8F7BE}"/>
          </ac:spMkLst>
        </pc:spChg>
        <pc:spChg chg="add del mod modVis">
          <ac:chgData name="Tobias Brammer" userId="80a1e1bd-3b82-47a5-b259-da62a397db92" providerId="ADAL" clId="{CC804E0E-B381-4A8C-832B-11046074747A}" dt="2023-09-27T07:38:19.636" v="269"/>
          <ac:spMkLst>
            <pc:docMk/>
            <pc:sldMk cId="1982481699" sldId="305"/>
            <ac:spMk id="9" creationId="{8244C9F8-9BD2-5885-6141-F934E6918A38}"/>
          </ac:spMkLst>
        </pc:spChg>
        <pc:spChg chg="add del mod modVis">
          <ac:chgData name="Tobias Brammer" userId="80a1e1bd-3b82-47a5-b259-da62a397db92" providerId="ADAL" clId="{CC804E0E-B381-4A8C-832B-11046074747A}" dt="2023-09-27T07:38:23.479" v="314"/>
          <ac:spMkLst>
            <pc:docMk/>
            <pc:sldMk cId="1982481699" sldId="305"/>
            <ac:spMk id="10" creationId="{40126A5C-7800-FC69-A626-4B8CA82B2A57}"/>
          </ac:spMkLst>
        </pc:spChg>
        <pc:spChg chg="add del mod modVis">
          <ac:chgData name="Tobias Brammer" userId="80a1e1bd-3b82-47a5-b259-da62a397db92" providerId="ADAL" clId="{CC804E0E-B381-4A8C-832B-11046074747A}" dt="2023-09-27T07:39:03.687" v="1619"/>
          <ac:spMkLst>
            <pc:docMk/>
            <pc:sldMk cId="1982481699" sldId="305"/>
            <ac:spMk id="11" creationId="{DB4386F7-FB99-6FCB-6BE1-24A84B40507E}"/>
          </ac:spMkLst>
        </pc:spChg>
        <pc:spChg chg="add del mod modVis">
          <ac:chgData name="Tobias Brammer" userId="80a1e1bd-3b82-47a5-b259-da62a397db92" providerId="ADAL" clId="{CC804E0E-B381-4A8C-832B-11046074747A}" dt="2023-09-27T09:42:37.043" v="10604"/>
          <ac:spMkLst>
            <pc:docMk/>
            <pc:sldMk cId="1982481699" sldId="305"/>
            <ac:spMk id="12" creationId="{213A12B4-CA7C-6DFD-B013-05BA22D43AC2}"/>
          </ac:spMkLst>
        </pc:spChg>
        <pc:spChg chg="add del mod modVis">
          <ac:chgData name="Tobias Brammer" userId="80a1e1bd-3b82-47a5-b259-da62a397db92" providerId="ADAL" clId="{CC804E0E-B381-4A8C-832B-11046074747A}" dt="2023-09-27T09:42:37.976" v="10650"/>
          <ac:spMkLst>
            <pc:docMk/>
            <pc:sldMk cId="1982481699" sldId="305"/>
            <ac:spMk id="13" creationId="{B6FF0C2B-7AC2-9D95-0249-82C89A64A11A}"/>
          </ac:spMkLst>
        </pc:spChg>
        <pc:spChg chg="add del mod modVis">
          <ac:chgData name="Tobias Brammer" userId="80a1e1bd-3b82-47a5-b259-da62a397db92" providerId="ADAL" clId="{CC804E0E-B381-4A8C-832B-11046074747A}" dt="2023-09-27T09:42:41.438" v="10713"/>
          <ac:spMkLst>
            <pc:docMk/>
            <pc:sldMk cId="1982481699" sldId="305"/>
            <ac:spMk id="14" creationId="{24D72D7D-B15B-AB3F-DDE8-3B70171FFF60}"/>
          </ac:spMkLst>
        </pc:spChg>
        <pc:spChg chg="add del mod modVis">
          <ac:chgData name="Tobias Brammer" userId="80a1e1bd-3b82-47a5-b259-da62a397db92" providerId="ADAL" clId="{CC804E0E-B381-4A8C-832B-11046074747A}" dt="2023-09-27T09:42:44.690" v="10758"/>
          <ac:spMkLst>
            <pc:docMk/>
            <pc:sldMk cId="1982481699" sldId="305"/>
            <ac:spMk id="15" creationId="{4AAE91D4-C0F9-C819-2469-3E687E3D45C7}"/>
          </ac:spMkLst>
        </pc:spChg>
        <pc:spChg chg="add del mod modVis">
          <ac:chgData name="Tobias Brammer" userId="80a1e1bd-3b82-47a5-b259-da62a397db92" providerId="ADAL" clId="{CC804E0E-B381-4A8C-832B-11046074747A}" dt="2023-09-27T09:42:48.638" v="10804"/>
          <ac:spMkLst>
            <pc:docMk/>
            <pc:sldMk cId="1982481699" sldId="305"/>
            <ac:spMk id="16" creationId="{326A8D55-A185-C415-5110-228847D97C6C}"/>
          </ac:spMkLst>
        </pc:spChg>
        <pc:spChg chg="add del mod">
          <ac:chgData name="Tobias Brammer" userId="80a1e1bd-3b82-47a5-b259-da62a397db92" providerId="ADAL" clId="{CC804E0E-B381-4A8C-832B-11046074747A}" dt="2023-09-27T09:48:35.862" v="10829" actId="478"/>
          <ac:spMkLst>
            <pc:docMk/>
            <pc:sldMk cId="1982481699" sldId="305"/>
            <ac:spMk id="18" creationId="{C811492E-B758-0C91-AE1F-B678E0F46D78}"/>
          </ac:spMkLst>
        </pc:spChg>
        <pc:spChg chg="mod">
          <ac:chgData name="Tobias Brammer" userId="80a1e1bd-3b82-47a5-b259-da62a397db92" providerId="ADAL" clId="{CC804E0E-B381-4A8C-832B-11046074747A}" dt="2023-09-27T09:42:48.620" v="10763" actId="948"/>
          <ac:spMkLst>
            <pc:docMk/>
            <pc:sldMk cId="1982481699" sldId="305"/>
            <ac:spMk id="54" creationId="{80FB860F-3E3A-43EB-B273-14B2246A3D66}"/>
          </ac:spMkLst>
        </pc:spChg>
        <pc:graphicFrameChg chg="mod">
          <ac:chgData name="Tobias Brammer" userId="80a1e1bd-3b82-47a5-b259-da62a397db92" providerId="ADAL" clId="{CC804E0E-B381-4A8C-832B-11046074747A}" dt="2023-09-27T09:42:48.638" v="10806"/>
          <ac:graphicFrameMkLst>
            <pc:docMk/>
            <pc:sldMk cId="1982481699" sldId="305"/>
            <ac:graphicFrameMk id="2" creationId="{3C5B1A34-4CF2-0504-3BE2-26A1E21AF65D}"/>
          </ac:graphicFrameMkLst>
        </pc:graphicFrameChg>
        <pc:picChg chg="add del mod">
          <ac:chgData name="Tobias Brammer" userId="80a1e1bd-3b82-47a5-b259-da62a397db92" providerId="ADAL" clId="{CC804E0E-B381-4A8C-832B-11046074747A}" dt="2023-09-27T09:48:35.360" v="10828" actId="931"/>
          <ac:picMkLst>
            <pc:docMk/>
            <pc:sldMk cId="1982481699" sldId="305"/>
            <ac:picMk id="20" creationId="{E3205C9B-D3A0-219A-4B28-696D0A8B1BB9}"/>
          </ac:picMkLst>
        </pc:picChg>
        <pc:picChg chg="add del mod">
          <ac:chgData name="Tobias Brammer" userId="80a1e1bd-3b82-47a5-b259-da62a397db92" providerId="ADAL" clId="{CC804E0E-B381-4A8C-832B-11046074747A}" dt="2023-09-27T09:48:57.062" v="10831" actId="29295"/>
          <ac:picMkLst>
            <pc:docMk/>
            <pc:sldMk cId="1982481699" sldId="305"/>
            <ac:picMk id="44" creationId="{300612C0-B09C-4184-9B47-184F0D0789C7}"/>
          </ac:picMkLst>
        </pc:picChg>
      </pc:sldChg>
      <pc:sldChg chg="addSp delSp modSp mod ord chgLayout modNotes">
        <pc:chgData name="Tobias Brammer" userId="80a1e1bd-3b82-47a5-b259-da62a397db92" providerId="ADAL" clId="{CC804E0E-B381-4A8C-832B-11046074747A}" dt="2023-09-27T09:42:05.848" v="10548"/>
        <pc:sldMkLst>
          <pc:docMk/>
          <pc:sldMk cId="2678748836" sldId="308"/>
        </pc:sldMkLst>
        <pc:spChg chg="mod ord">
          <ac:chgData name="Tobias Brammer" userId="80a1e1bd-3b82-47a5-b259-da62a397db92" providerId="ADAL" clId="{CC804E0E-B381-4A8C-832B-11046074747A}" dt="2023-09-27T09:42:05.817" v="10505" actId="948"/>
          <ac:spMkLst>
            <pc:docMk/>
            <pc:sldMk cId="2678748836" sldId="308"/>
            <ac:spMk id="2" creationId="{F7A7B11F-5560-4450-B29C-AA36EE47DBD5}"/>
          </ac:spMkLst>
        </pc:spChg>
        <pc:spChg chg="add del mod modVis">
          <ac:chgData name="Tobias Brammer" userId="80a1e1bd-3b82-47a5-b259-da62a397db92" providerId="ADAL" clId="{CC804E0E-B381-4A8C-832B-11046074747A}" dt="2023-09-27T07:51:07.096" v="2277"/>
          <ac:spMkLst>
            <pc:docMk/>
            <pc:sldMk cId="2678748836" sldId="308"/>
            <ac:spMk id="4" creationId="{AABD0640-03C3-85A5-42DD-CDEE276A711C}"/>
          </ac:spMkLst>
        </pc:spChg>
        <pc:spChg chg="add del mod modVis">
          <ac:chgData name="Tobias Brammer" userId="80a1e1bd-3b82-47a5-b259-da62a397db92" providerId="ADAL" clId="{CC804E0E-B381-4A8C-832B-11046074747A}" dt="2023-09-27T07:51:13.154" v="2324"/>
          <ac:spMkLst>
            <pc:docMk/>
            <pc:sldMk cId="2678748836" sldId="308"/>
            <ac:spMk id="5" creationId="{4B20CE5C-4D2F-327B-8181-F3CEEC35AEA8}"/>
          </ac:spMkLst>
        </pc:spChg>
        <pc:spChg chg="del mod ord">
          <ac:chgData name="Tobias Brammer" userId="80a1e1bd-3b82-47a5-b259-da62a397db92" providerId="ADAL" clId="{CC804E0E-B381-4A8C-832B-11046074747A}" dt="2023-09-27T07:51:27.711" v="2372" actId="478"/>
          <ac:spMkLst>
            <pc:docMk/>
            <pc:sldMk cId="2678748836" sldId="308"/>
            <ac:spMk id="6" creationId="{8FC4456C-8838-4F8B-8B1E-95CBD5B2E38B}"/>
          </ac:spMkLst>
        </pc:spChg>
        <pc:spChg chg="add del mod modVis">
          <ac:chgData name="Tobias Brammer" userId="80a1e1bd-3b82-47a5-b259-da62a397db92" providerId="ADAL" clId="{CC804E0E-B381-4A8C-832B-11046074747A}" dt="2023-09-27T07:51:14.095" v="2369"/>
          <ac:spMkLst>
            <pc:docMk/>
            <pc:sldMk cId="2678748836" sldId="308"/>
            <ac:spMk id="7" creationId="{E935A656-534D-AF85-21C5-9600E5D99D19}"/>
          </ac:spMkLst>
        </pc:spChg>
        <pc:spChg chg="add mod">
          <ac:chgData name="Tobias Brammer" userId="80a1e1bd-3b82-47a5-b259-da62a397db92" providerId="ADAL" clId="{CC804E0E-B381-4A8C-832B-11046074747A}" dt="2023-09-27T07:51:27.711" v="2372" actId="478"/>
          <ac:spMkLst>
            <pc:docMk/>
            <pc:sldMk cId="2678748836" sldId="308"/>
            <ac:spMk id="9" creationId="{4CA452FA-BA94-3A20-0CC0-D01DB3A19019}"/>
          </ac:spMkLst>
        </pc:spChg>
        <pc:spChg chg="add del mod modVis">
          <ac:chgData name="Tobias Brammer" userId="80a1e1bd-3b82-47a5-b259-da62a397db92" providerId="ADAL" clId="{CC804E0E-B381-4A8C-832B-11046074747A}" dt="2023-09-27T07:51:35.320" v="2416"/>
          <ac:spMkLst>
            <pc:docMk/>
            <pc:sldMk cId="2678748836" sldId="308"/>
            <ac:spMk id="10" creationId="{D54D2A90-2040-538A-6555-35D6BF797AD2}"/>
          </ac:spMkLst>
        </pc:spChg>
        <pc:spChg chg="add del mod modVis">
          <ac:chgData name="Tobias Brammer" userId="80a1e1bd-3b82-47a5-b259-da62a397db92" providerId="ADAL" clId="{CC804E0E-B381-4A8C-832B-11046074747A}" dt="2023-09-27T07:51:36.291" v="2461"/>
          <ac:spMkLst>
            <pc:docMk/>
            <pc:sldMk cId="2678748836" sldId="308"/>
            <ac:spMk id="11" creationId="{E737B445-4BC6-7DB8-08C8-760A8284BA03}"/>
          </ac:spMkLst>
        </pc:spChg>
        <pc:spChg chg="add del mod modVis">
          <ac:chgData name="Tobias Brammer" userId="80a1e1bd-3b82-47a5-b259-da62a397db92" providerId="ADAL" clId="{CC804E0E-B381-4A8C-832B-11046074747A}" dt="2023-09-27T07:51:40.265" v="2507"/>
          <ac:spMkLst>
            <pc:docMk/>
            <pc:sldMk cId="2678748836" sldId="308"/>
            <ac:spMk id="12" creationId="{382AE76C-5422-99F5-8666-30CBB6ECF02F}"/>
          </ac:spMkLst>
        </pc:spChg>
        <pc:spChg chg="add del mod modVis">
          <ac:chgData name="Tobias Brammer" userId="80a1e1bd-3b82-47a5-b259-da62a397db92" providerId="ADAL" clId="{CC804E0E-B381-4A8C-832B-11046074747A}" dt="2023-09-27T07:51:41.452" v="2552"/>
          <ac:spMkLst>
            <pc:docMk/>
            <pc:sldMk cId="2678748836" sldId="308"/>
            <ac:spMk id="13" creationId="{E48CD8C0-1540-DAB9-9F6A-3E60794F69FE}"/>
          </ac:spMkLst>
        </pc:spChg>
        <pc:spChg chg="add del mod modVis">
          <ac:chgData name="Tobias Brammer" userId="80a1e1bd-3b82-47a5-b259-da62a397db92" providerId="ADAL" clId="{CC804E0E-B381-4A8C-832B-11046074747A}" dt="2023-09-27T07:51:47.371" v="2598"/>
          <ac:spMkLst>
            <pc:docMk/>
            <pc:sldMk cId="2678748836" sldId="308"/>
            <ac:spMk id="14" creationId="{32C9A3F3-54F8-2166-ABDC-03260DF40B24}"/>
          </ac:spMkLst>
        </pc:spChg>
        <pc:spChg chg="add del mod modVis">
          <ac:chgData name="Tobias Brammer" userId="80a1e1bd-3b82-47a5-b259-da62a397db92" providerId="ADAL" clId="{CC804E0E-B381-4A8C-832B-11046074747A}" dt="2023-09-27T07:51:48.540" v="2643"/>
          <ac:spMkLst>
            <pc:docMk/>
            <pc:sldMk cId="2678748836" sldId="308"/>
            <ac:spMk id="15" creationId="{CFF89B29-4CC3-8B92-1AD6-E6CE045F2E73}"/>
          </ac:spMkLst>
        </pc:spChg>
        <pc:spChg chg="add del mod modVis">
          <ac:chgData name="Tobias Brammer" userId="80a1e1bd-3b82-47a5-b259-da62a397db92" providerId="ADAL" clId="{CC804E0E-B381-4A8C-832B-11046074747A}" dt="2023-09-27T07:51:49.578" v="2688"/>
          <ac:spMkLst>
            <pc:docMk/>
            <pc:sldMk cId="2678748836" sldId="308"/>
            <ac:spMk id="16" creationId="{CA277AA0-6721-7257-A768-1E4FF2F36B30}"/>
          </ac:spMkLst>
        </pc:spChg>
        <pc:spChg chg="add del mod modVis">
          <ac:chgData name="Tobias Brammer" userId="80a1e1bd-3b82-47a5-b259-da62a397db92" providerId="ADAL" clId="{CC804E0E-B381-4A8C-832B-11046074747A}" dt="2023-09-27T07:52:00.434" v="2733"/>
          <ac:spMkLst>
            <pc:docMk/>
            <pc:sldMk cId="2678748836" sldId="308"/>
            <ac:spMk id="17" creationId="{21E6E911-A0A4-37B5-C88A-B06319E36E0A}"/>
          </ac:spMkLst>
        </pc:spChg>
        <pc:spChg chg="add del mod modVis">
          <ac:chgData name="Tobias Brammer" userId="80a1e1bd-3b82-47a5-b259-da62a397db92" providerId="ADAL" clId="{CC804E0E-B381-4A8C-832B-11046074747A}" dt="2023-09-27T07:52:07.437" v="2784"/>
          <ac:spMkLst>
            <pc:docMk/>
            <pc:sldMk cId="2678748836" sldId="308"/>
            <ac:spMk id="18" creationId="{AA2409BC-6F1A-3A2E-5FCD-B20C96B9FD32}"/>
          </ac:spMkLst>
        </pc:spChg>
        <pc:spChg chg="add del mod modVis">
          <ac:chgData name="Tobias Brammer" userId="80a1e1bd-3b82-47a5-b259-da62a397db92" providerId="ADAL" clId="{CC804E0E-B381-4A8C-832B-11046074747A}" dt="2023-09-27T07:52:11.486" v="2829"/>
          <ac:spMkLst>
            <pc:docMk/>
            <pc:sldMk cId="2678748836" sldId="308"/>
            <ac:spMk id="19" creationId="{C31833DD-474D-9A23-A84E-0950C3796DA2}"/>
          </ac:spMkLst>
        </pc:spChg>
        <pc:spChg chg="add del mod modVis">
          <ac:chgData name="Tobias Brammer" userId="80a1e1bd-3b82-47a5-b259-da62a397db92" providerId="ADAL" clId="{CC804E0E-B381-4A8C-832B-11046074747A}" dt="2023-09-27T07:52:13.685" v="2874"/>
          <ac:spMkLst>
            <pc:docMk/>
            <pc:sldMk cId="2678748836" sldId="308"/>
            <ac:spMk id="20" creationId="{55B9C448-8DBE-F267-1F87-C126C6C02DDB}"/>
          </ac:spMkLst>
        </pc:spChg>
        <pc:spChg chg="add del mod modVis">
          <ac:chgData name="Tobias Brammer" userId="80a1e1bd-3b82-47a5-b259-da62a397db92" providerId="ADAL" clId="{CC804E0E-B381-4A8C-832B-11046074747A}" dt="2023-09-27T07:52:20.085" v="2919"/>
          <ac:spMkLst>
            <pc:docMk/>
            <pc:sldMk cId="2678748836" sldId="308"/>
            <ac:spMk id="21" creationId="{7FC0C2DE-81D3-6D3A-D44F-E25FE0F5D432}"/>
          </ac:spMkLst>
        </pc:spChg>
        <pc:spChg chg="add del mod modVis">
          <ac:chgData name="Tobias Brammer" userId="80a1e1bd-3b82-47a5-b259-da62a397db92" providerId="ADAL" clId="{CC804E0E-B381-4A8C-832B-11046074747A}" dt="2023-09-27T07:52:26.754" v="2964"/>
          <ac:spMkLst>
            <pc:docMk/>
            <pc:sldMk cId="2678748836" sldId="308"/>
            <ac:spMk id="22" creationId="{0D1A1CFA-9C6E-C1E6-400A-045B6744920D}"/>
          </ac:spMkLst>
        </pc:spChg>
        <pc:spChg chg="add del mod modVis">
          <ac:chgData name="Tobias Brammer" userId="80a1e1bd-3b82-47a5-b259-da62a397db92" providerId="ADAL" clId="{CC804E0E-B381-4A8C-832B-11046074747A}" dt="2023-09-27T07:52:29.164" v="3009"/>
          <ac:spMkLst>
            <pc:docMk/>
            <pc:sldMk cId="2678748836" sldId="308"/>
            <ac:spMk id="23" creationId="{0D9B3BD9-3979-1E1D-A6DA-359F1F5B1599}"/>
          </ac:spMkLst>
        </pc:spChg>
        <pc:spChg chg="add del mod modVis">
          <ac:chgData name="Tobias Brammer" userId="80a1e1bd-3b82-47a5-b259-da62a397db92" providerId="ADAL" clId="{CC804E0E-B381-4A8C-832B-11046074747A}" dt="2023-09-27T07:52:34.783" v="3054"/>
          <ac:spMkLst>
            <pc:docMk/>
            <pc:sldMk cId="2678748836" sldId="308"/>
            <ac:spMk id="24" creationId="{27BE4518-DE76-B45B-632E-859ED8C6E129}"/>
          </ac:spMkLst>
        </pc:spChg>
        <pc:spChg chg="add del mod modVis">
          <ac:chgData name="Tobias Brammer" userId="80a1e1bd-3b82-47a5-b259-da62a397db92" providerId="ADAL" clId="{CC804E0E-B381-4A8C-832B-11046074747A}" dt="2023-09-27T07:52:36.685" v="3099"/>
          <ac:spMkLst>
            <pc:docMk/>
            <pc:sldMk cId="2678748836" sldId="308"/>
            <ac:spMk id="25" creationId="{10906FB3-8F76-4BE0-7A32-E4615B8CCAC9}"/>
          </ac:spMkLst>
        </pc:spChg>
        <pc:spChg chg="add del mod modVis">
          <ac:chgData name="Tobias Brammer" userId="80a1e1bd-3b82-47a5-b259-da62a397db92" providerId="ADAL" clId="{CC804E0E-B381-4A8C-832B-11046074747A}" dt="2023-09-27T07:52:44.984" v="3144"/>
          <ac:spMkLst>
            <pc:docMk/>
            <pc:sldMk cId="2678748836" sldId="308"/>
            <ac:spMk id="26" creationId="{8EA831D2-1417-F655-1040-FA2AA2FE7AF8}"/>
          </ac:spMkLst>
        </pc:spChg>
        <pc:spChg chg="add del mod modVis">
          <ac:chgData name="Tobias Brammer" userId="80a1e1bd-3b82-47a5-b259-da62a397db92" providerId="ADAL" clId="{CC804E0E-B381-4A8C-832B-11046074747A}" dt="2023-09-27T07:52:50.490" v="3189"/>
          <ac:spMkLst>
            <pc:docMk/>
            <pc:sldMk cId="2678748836" sldId="308"/>
            <ac:spMk id="27" creationId="{2943569D-DF51-C1CB-4C10-7AD34F61F3AE}"/>
          </ac:spMkLst>
        </pc:spChg>
        <pc:spChg chg="add del mod modVis">
          <ac:chgData name="Tobias Brammer" userId="80a1e1bd-3b82-47a5-b259-da62a397db92" providerId="ADAL" clId="{CC804E0E-B381-4A8C-832B-11046074747A}" dt="2023-09-27T07:52:54.186" v="3234"/>
          <ac:spMkLst>
            <pc:docMk/>
            <pc:sldMk cId="2678748836" sldId="308"/>
            <ac:spMk id="28" creationId="{B11A107E-05B8-00B1-A922-432384760978}"/>
          </ac:spMkLst>
        </pc:spChg>
        <pc:spChg chg="add del mod modVis">
          <ac:chgData name="Tobias Brammer" userId="80a1e1bd-3b82-47a5-b259-da62a397db92" providerId="ADAL" clId="{CC804E0E-B381-4A8C-832B-11046074747A}" dt="2023-09-27T07:52:57.128" v="3279"/>
          <ac:spMkLst>
            <pc:docMk/>
            <pc:sldMk cId="2678748836" sldId="308"/>
            <ac:spMk id="29" creationId="{49BC6254-8434-FF47-F5C9-C2021477FEB4}"/>
          </ac:spMkLst>
        </pc:spChg>
        <pc:spChg chg="add del mod modVis">
          <ac:chgData name="Tobias Brammer" userId="80a1e1bd-3b82-47a5-b259-da62a397db92" providerId="ADAL" clId="{CC804E0E-B381-4A8C-832B-11046074747A}" dt="2023-09-27T09:41:21.505" v="10231"/>
          <ac:spMkLst>
            <pc:docMk/>
            <pc:sldMk cId="2678748836" sldId="308"/>
            <ac:spMk id="30" creationId="{EDE4165E-0B2F-7872-A512-5262913D48C6}"/>
          </ac:spMkLst>
        </pc:spChg>
        <pc:spChg chg="add del mod modVis">
          <ac:chgData name="Tobias Brammer" userId="80a1e1bd-3b82-47a5-b259-da62a397db92" providerId="ADAL" clId="{CC804E0E-B381-4A8C-832B-11046074747A}" dt="2023-09-27T09:41:32.874" v="10276"/>
          <ac:spMkLst>
            <pc:docMk/>
            <pc:sldMk cId="2678748836" sldId="308"/>
            <ac:spMk id="31" creationId="{0A6445B1-1B5A-9EFD-BA9A-9816CCE8FDA0}"/>
          </ac:spMkLst>
        </pc:spChg>
        <pc:spChg chg="add del mod modVis">
          <ac:chgData name="Tobias Brammer" userId="80a1e1bd-3b82-47a5-b259-da62a397db92" providerId="ADAL" clId="{CC804E0E-B381-4A8C-832B-11046074747A}" dt="2023-09-27T09:41:37.215" v="10321"/>
          <ac:spMkLst>
            <pc:docMk/>
            <pc:sldMk cId="2678748836" sldId="308"/>
            <ac:spMk id="32" creationId="{EB44EF17-393C-63DC-7B5A-B79D55FA309C}"/>
          </ac:spMkLst>
        </pc:spChg>
        <pc:spChg chg="add del mod modVis">
          <ac:chgData name="Tobias Brammer" userId="80a1e1bd-3b82-47a5-b259-da62a397db92" providerId="ADAL" clId="{CC804E0E-B381-4A8C-832B-11046074747A}" dt="2023-09-27T09:41:47.570" v="10366"/>
          <ac:spMkLst>
            <pc:docMk/>
            <pc:sldMk cId="2678748836" sldId="308"/>
            <ac:spMk id="33" creationId="{CCCE55AD-3CCA-6ACE-EBBD-5389C915BC68}"/>
          </ac:spMkLst>
        </pc:spChg>
        <pc:spChg chg="add del mod modVis">
          <ac:chgData name="Tobias Brammer" userId="80a1e1bd-3b82-47a5-b259-da62a397db92" providerId="ADAL" clId="{CC804E0E-B381-4A8C-832B-11046074747A}" dt="2023-09-27T09:41:54.507" v="10411"/>
          <ac:spMkLst>
            <pc:docMk/>
            <pc:sldMk cId="2678748836" sldId="308"/>
            <ac:spMk id="34" creationId="{515B2AC9-126E-D598-7AF8-74C80886D622}"/>
          </ac:spMkLst>
        </pc:spChg>
        <pc:spChg chg="add del mod modVis">
          <ac:chgData name="Tobias Brammer" userId="80a1e1bd-3b82-47a5-b259-da62a397db92" providerId="ADAL" clId="{CC804E0E-B381-4A8C-832B-11046074747A}" dt="2023-09-27T09:41:59.198" v="10456"/>
          <ac:spMkLst>
            <pc:docMk/>
            <pc:sldMk cId="2678748836" sldId="308"/>
            <ac:spMk id="35" creationId="{03B00D34-85EE-7F4E-E392-07B3A5376EA4}"/>
          </ac:spMkLst>
        </pc:spChg>
        <pc:spChg chg="add del mod modVis">
          <ac:chgData name="Tobias Brammer" userId="80a1e1bd-3b82-47a5-b259-da62a397db92" providerId="ADAL" clId="{CC804E0E-B381-4A8C-832B-11046074747A}" dt="2023-09-27T09:42:02.279" v="10501"/>
          <ac:spMkLst>
            <pc:docMk/>
            <pc:sldMk cId="2678748836" sldId="308"/>
            <ac:spMk id="36" creationId="{ECB6A1B8-00B4-CB6D-61B4-E2F70CADF669}"/>
          </ac:spMkLst>
        </pc:spChg>
        <pc:spChg chg="add del mod modVis">
          <ac:chgData name="Tobias Brammer" userId="80a1e1bd-3b82-47a5-b259-da62a397db92" providerId="ADAL" clId="{CC804E0E-B381-4A8C-832B-11046074747A}" dt="2023-09-27T09:42:05.848" v="10546"/>
          <ac:spMkLst>
            <pc:docMk/>
            <pc:sldMk cId="2678748836" sldId="308"/>
            <ac:spMk id="37" creationId="{484799E1-C949-FB9C-21B0-8A4EB9E8D2FE}"/>
          </ac:spMkLst>
        </pc:spChg>
        <pc:graphicFrameChg chg="mod">
          <ac:chgData name="Tobias Brammer" userId="80a1e1bd-3b82-47a5-b259-da62a397db92" providerId="ADAL" clId="{CC804E0E-B381-4A8C-832B-11046074747A}" dt="2023-09-27T09:42:05.848" v="10548"/>
          <ac:graphicFrameMkLst>
            <pc:docMk/>
            <pc:sldMk cId="2678748836" sldId="308"/>
            <ac:graphicFrameMk id="3" creationId="{C25CA449-E3EB-0DD4-6908-6F7AA75DB9C8}"/>
          </ac:graphicFrameMkLst>
        </pc:graphicFrameChg>
      </pc:sldChg>
      <pc:sldChg chg="addSp delSp modSp mod ord modNotes modNotesTx">
        <pc:chgData name="Tobias Brammer" userId="80a1e1bd-3b82-47a5-b259-da62a397db92" providerId="ADAL" clId="{CC804E0E-B381-4A8C-832B-11046074747A}" dt="2023-09-27T11:26:06.630" v="10859" actId="20577"/>
        <pc:sldMkLst>
          <pc:docMk/>
          <pc:sldMk cId="2492524537" sldId="309"/>
        </pc:sldMkLst>
        <pc:spChg chg="mod">
          <ac:chgData name="Tobias Brammer" userId="80a1e1bd-3b82-47a5-b259-da62a397db92" providerId="ADAL" clId="{CC804E0E-B381-4A8C-832B-11046074747A}" dt="2023-09-27T07:50:19.231" v="2178" actId="948"/>
          <ac:spMkLst>
            <pc:docMk/>
            <pc:sldMk cId="2492524537" sldId="309"/>
            <ac:spMk id="2" creationId="{F7A7B11F-5560-4450-B29C-AA36EE47DBD5}"/>
          </ac:spMkLst>
        </pc:spChg>
        <pc:spChg chg="del mod">
          <ac:chgData name="Tobias Brammer" userId="80a1e1bd-3b82-47a5-b259-da62a397db92" providerId="ADAL" clId="{CC804E0E-B381-4A8C-832B-11046074747A}" dt="2023-09-27T08:23:07.182" v="6789" actId="478"/>
          <ac:spMkLst>
            <pc:docMk/>
            <pc:sldMk cId="2492524537" sldId="309"/>
            <ac:spMk id="3" creationId="{DBBA62F8-ABAB-0796-5D4F-277CA4383CB2}"/>
          </ac:spMkLst>
        </pc:spChg>
        <pc:spChg chg="del mod">
          <ac:chgData name="Tobias Brammer" userId="80a1e1bd-3b82-47a5-b259-da62a397db92" providerId="ADAL" clId="{CC804E0E-B381-4A8C-832B-11046074747A}" dt="2023-09-27T08:22:59.419" v="6788" actId="478"/>
          <ac:spMkLst>
            <pc:docMk/>
            <pc:sldMk cId="2492524537" sldId="309"/>
            <ac:spMk id="5" creationId="{0256447C-D35F-4F86-D90B-E90F6B46AE7F}"/>
          </ac:spMkLst>
        </pc:spChg>
        <pc:spChg chg="del mod">
          <ac:chgData name="Tobias Brammer" userId="80a1e1bd-3b82-47a5-b259-da62a397db92" providerId="ADAL" clId="{CC804E0E-B381-4A8C-832B-11046074747A}" dt="2023-09-27T08:22:52.906" v="6787" actId="478"/>
          <ac:spMkLst>
            <pc:docMk/>
            <pc:sldMk cId="2492524537" sldId="309"/>
            <ac:spMk id="6" creationId="{8FC4456C-8838-4F8B-8B1E-95CBD5B2E38B}"/>
          </ac:spMkLst>
        </pc:spChg>
        <pc:spChg chg="add del mod modVis">
          <ac:chgData name="Tobias Brammer" userId="80a1e1bd-3b82-47a5-b259-da62a397db92" providerId="ADAL" clId="{CC804E0E-B381-4A8C-832B-11046074747A}" dt="2023-09-27T07:39:03.699" v="1631"/>
          <ac:spMkLst>
            <pc:docMk/>
            <pc:sldMk cId="2492524537" sldId="309"/>
            <ac:spMk id="7" creationId="{DBA4C889-B1FC-4372-C166-991E43653606}"/>
          </ac:spMkLst>
        </pc:spChg>
        <pc:spChg chg="add del mod modVis">
          <ac:chgData name="Tobias Brammer" userId="80a1e1bd-3b82-47a5-b259-da62a397db92" providerId="ADAL" clId="{CC804E0E-B381-4A8C-832B-11046074747A}" dt="2023-09-27T07:50:19.263" v="2219"/>
          <ac:spMkLst>
            <pc:docMk/>
            <pc:sldMk cId="2492524537" sldId="309"/>
            <ac:spMk id="8" creationId="{F1D26F84-EB63-3348-D954-D50D69D57E38}"/>
          </ac:spMkLst>
        </pc:spChg>
        <pc:spChg chg="add mod">
          <ac:chgData name="Tobias Brammer" userId="80a1e1bd-3b82-47a5-b259-da62a397db92" providerId="ADAL" clId="{CC804E0E-B381-4A8C-832B-11046074747A}" dt="2023-09-27T09:09:56.712" v="8342" actId="313"/>
          <ac:spMkLst>
            <pc:docMk/>
            <pc:sldMk cId="2492524537" sldId="309"/>
            <ac:spMk id="10" creationId="{6123F9E9-4EDA-8639-0B90-4D3A855C3D7A}"/>
          </ac:spMkLst>
        </pc:spChg>
        <pc:graphicFrameChg chg="mod">
          <ac:chgData name="Tobias Brammer" userId="80a1e1bd-3b82-47a5-b259-da62a397db92" providerId="ADAL" clId="{CC804E0E-B381-4A8C-832B-11046074747A}" dt="2023-09-27T07:50:19.263" v="2221"/>
          <ac:graphicFrameMkLst>
            <pc:docMk/>
            <pc:sldMk cId="2492524537" sldId="309"/>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9:38:59.118" v="9972" actId="14"/>
        <pc:sldMkLst>
          <pc:docMk/>
          <pc:sldMk cId="3090062221" sldId="311"/>
        </pc:sldMkLst>
        <pc:spChg chg="mod">
          <ac:chgData name="Tobias Brammer" userId="80a1e1bd-3b82-47a5-b259-da62a397db92" providerId="ADAL" clId="{CC804E0E-B381-4A8C-832B-11046074747A}" dt="2023-09-27T07:49:49.621" v="2113" actId="948"/>
          <ac:spMkLst>
            <pc:docMk/>
            <pc:sldMk cId="3090062221" sldId="311"/>
            <ac:spMk id="2" creationId="{F7A7B11F-5560-4450-B29C-AA36EE47DBD5}"/>
          </ac:spMkLst>
        </pc:spChg>
        <pc:spChg chg="add del mod modVis">
          <ac:chgData name="Tobias Brammer" userId="80a1e1bd-3b82-47a5-b259-da62a397db92" providerId="ADAL" clId="{CC804E0E-B381-4A8C-832B-11046074747A}" dt="2023-09-27T07:39:03.699" v="1627"/>
          <ac:spMkLst>
            <pc:docMk/>
            <pc:sldMk cId="3090062221" sldId="311"/>
            <ac:spMk id="3" creationId="{C6787F1D-899F-6C78-D444-B39B88B7015E}"/>
          </ac:spMkLst>
        </pc:spChg>
        <pc:spChg chg="del mod">
          <ac:chgData name="Tobias Brammer" userId="80a1e1bd-3b82-47a5-b259-da62a397db92" providerId="ADAL" clId="{CC804E0E-B381-4A8C-832B-11046074747A}" dt="2023-09-27T09:23:08.079" v="8667" actId="478"/>
          <ac:spMkLst>
            <pc:docMk/>
            <pc:sldMk cId="3090062221" sldId="311"/>
            <ac:spMk id="6" creationId="{8FC4456C-8838-4F8B-8B1E-95CBD5B2E38B}"/>
          </ac:spMkLst>
        </pc:spChg>
        <pc:spChg chg="add mod">
          <ac:chgData name="Tobias Brammer" userId="80a1e1bd-3b82-47a5-b259-da62a397db92" providerId="ADAL" clId="{CC804E0E-B381-4A8C-832B-11046074747A}" dt="2023-09-27T09:38:59.118" v="9972" actId="14"/>
          <ac:spMkLst>
            <pc:docMk/>
            <pc:sldMk cId="3090062221" sldId="311"/>
            <ac:spMk id="7" creationId="{DEC53627-8BE2-118B-148A-8A775CEDD3D3}"/>
          </ac:spMkLst>
        </pc:spChg>
        <pc:grpChg chg="del">
          <ac:chgData name="Tobias Brammer" userId="80a1e1bd-3b82-47a5-b259-da62a397db92" providerId="ADAL" clId="{CC804E0E-B381-4A8C-832B-11046074747A}" dt="2023-09-27T09:23:09.724" v="8668" actId="478"/>
          <ac:grpSpMkLst>
            <pc:docMk/>
            <pc:sldMk cId="3090062221" sldId="311"/>
            <ac:grpSpMk id="23" creationId="{38285DF7-26A5-0B52-5D8A-45F17BF22272}"/>
          </ac:grpSpMkLst>
        </pc:grpChg>
        <pc:graphicFrameChg chg="mod">
          <ac:chgData name="Tobias Brammer" userId="80a1e1bd-3b82-47a5-b259-da62a397db92" providerId="ADAL" clId="{CC804E0E-B381-4A8C-832B-11046074747A}" dt="2023-09-27T07:49:49.621" v="2117"/>
          <ac:graphicFrameMkLst>
            <pc:docMk/>
            <pc:sldMk cId="3090062221" sldId="311"/>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8:09:02.536" v="4882" actId="408"/>
        <pc:sldMkLst>
          <pc:docMk/>
          <pc:sldMk cId="637503088" sldId="313"/>
        </pc:sldMkLst>
        <pc:spChg chg="del mod">
          <ac:chgData name="Tobias Brammer" userId="80a1e1bd-3b82-47a5-b259-da62a397db92" providerId="ADAL" clId="{CC804E0E-B381-4A8C-832B-11046074747A}" dt="2023-09-27T07:53:37.489" v="3313" actId="478"/>
          <ac:spMkLst>
            <pc:docMk/>
            <pc:sldMk cId="637503088" sldId="313"/>
            <ac:spMk id="2" creationId="{2BD5074D-D1F9-B9F7-DACD-88F097B4D5CD}"/>
          </ac:spMkLst>
        </pc:spChg>
        <pc:spChg chg="add del mod modVis">
          <ac:chgData name="Tobias Brammer" userId="80a1e1bd-3b82-47a5-b259-da62a397db92" providerId="ADAL" clId="{CC804E0E-B381-4A8C-832B-11046074747A}" dt="2023-09-27T07:39:03.699" v="1635"/>
          <ac:spMkLst>
            <pc:docMk/>
            <pc:sldMk cId="637503088" sldId="313"/>
            <ac:spMk id="3" creationId="{11E5EEF7-E4BC-ADAE-4277-5633D0CF9876}"/>
          </ac:spMkLst>
        </pc:spChg>
        <pc:spChg chg="del mod">
          <ac:chgData name="Tobias Brammer" userId="80a1e1bd-3b82-47a5-b259-da62a397db92" providerId="ADAL" clId="{CC804E0E-B381-4A8C-832B-11046074747A}" dt="2023-09-27T07:57:19.279" v="3656" actId="478"/>
          <ac:spMkLst>
            <pc:docMk/>
            <pc:sldMk cId="637503088" sldId="313"/>
            <ac:spMk id="6" creationId="{C946590A-DCFA-480E-9973-032781667CFD}"/>
          </ac:spMkLst>
        </pc:spChg>
        <pc:spChg chg="del mod">
          <ac:chgData name="Tobias Brammer" userId="80a1e1bd-3b82-47a5-b259-da62a397db92" providerId="ADAL" clId="{CC804E0E-B381-4A8C-832B-11046074747A}" dt="2023-09-27T07:57:21.722" v="3657" actId="478"/>
          <ac:spMkLst>
            <pc:docMk/>
            <pc:sldMk cId="637503088" sldId="313"/>
            <ac:spMk id="7" creationId="{BB313780-1FD1-47D9-8FAE-3FEDD5BED7B1}"/>
          </ac:spMkLst>
        </pc:spChg>
        <pc:spChg chg="del mod">
          <ac:chgData name="Tobias Brammer" userId="80a1e1bd-3b82-47a5-b259-da62a397db92" providerId="ADAL" clId="{CC804E0E-B381-4A8C-832B-11046074747A}" dt="2023-09-27T07:57:23.293" v="3658" actId="478"/>
          <ac:spMkLst>
            <pc:docMk/>
            <pc:sldMk cId="637503088" sldId="313"/>
            <ac:spMk id="8" creationId="{A26BD07B-B36A-46BD-8B09-8347D40D54E4}"/>
          </ac:spMkLst>
        </pc:spChg>
        <pc:spChg chg="del mod">
          <ac:chgData name="Tobias Brammer" userId="80a1e1bd-3b82-47a5-b259-da62a397db92" providerId="ADAL" clId="{CC804E0E-B381-4A8C-832B-11046074747A}" dt="2023-09-27T08:07:36.524" v="4864" actId="478"/>
          <ac:spMkLst>
            <pc:docMk/>
            <pc:sldMk cId="637503088" sldId="313"/>
            <ac:spMk id="9" creationId="{7A55C507-1CA4-403F-85AA-068A599400B3}"/>
          </ac:spMkLst>
        </pc:spChg>
        <pc:spChg chg="del mod">
          <ac:chgData name="Tobias Brammer" userId="80a1e1bd-3b82-47a5-b259-da62a397db92" providerId="ADAL" clId="{CC804E0E-B381-4A8C-832B-11046074747A}" dt="2023-09-27T08:07:38.503" v="4865" actId="478"/>
          <ac:spMkLst>
            <pc:docMk/>
            <pc:sldMk cId="637503088" sldId="313"/>
            <ac:spMk id="10" creationId="{FCC3E6C0-5D07-41B1-BF2D-D07463968082}"/>
          </ac:spMkLst>
        </pc:spChg>
        <pc:spChg chg="mod">
          <ac:chgData name="Tobias Brammer" userId="80a1e1bd-3b82-47a5-b259-da62a397db92" providerId="ADAL" clId="{CC804E0E-B381-4A8C-832B-11046074747A}" dt="2023-09-27T08:08:12.231" v="4870" actId="552"/>
          <ac:spMkLst>
            <pc:docMk/>
            <pc:sldMk cId="637503088" sldId="313"/>
            <ac:spMk id="11" creationId="{F2D1ABE1-5DEA-4BC7-A383-C87624EBC8FE}"/>
          </ac:spMkLst>
        </pc:spChg>
        <pc:spChg chg="mod">
          <ac:chgData name="Tobias Brammer" userId="80a1e1bd-3b82-47a5-b259-da62a397db92" providerId="ADAL" clId="{CC804E0E-B381-4A8C-832B-11046074747A}" dt="2023-09-27T08:07:04.953" v="4854" actId="164"/>
          <ac:spMkLst>
            <pc:docMk/>
            <pc:sldMk cId="637503088" sldId="313"/>
            <ac:spMk id="12" creationId="{2E5DBFB2-6254-4D85-BA12-9421EF5CB27B}"/>
          </ac:spMkLst>
        </pc:spChg>
        <pc:spChg chg="mod">
          <ac:chgData name="Tobias Brammer" userId="80a1e1bd-3b82-47a5-b259-da62a397db92" providerId="ADAL" clId="{CC804E0E-B381-4A8C-832B-11046074747A}" dt="2023-09-27T08:08:18.638" v="4872" actId="164"/>
          <ac:spMkLst>
            <pc:docMk/>
            <pc:sldMk cId="637503088" sldId="313"/>
            <ac:spMk id="13" creationId="{E13D7B49-6DD3-43C3-9A2E-E2BA90A74A41}"/>
          </ac:spMkLst>
        </pc:spChg>
        <pc:spChg chg="add del mod">
          <ac:chgData name="Tobias Brammer" userId="80a1e1bd-3b82-47a5-b259-da62a397db92" providerId="ADAL" clId="{CC804E0E-B381-4A8C-832B-11046074747A}" dt="2023-09-27T07:53:43.578" v="3319" actId="478"/>
          <ac:spMkLst>
            <pc:docMk/>
            <pc:sldMk cId="637503088" sldId="313"/>
            <ac:spMk id="14" creationId="{AB3AEB30-91A2-C8BB-56D4-6E8A8CF831BE}"/>
          </ac:spMkLst>
        </pc:spChg>
        <pc:spChg chg="add mod">
          <ac:chgData name="Tobias Brammer" userId="80a1e1bd-3b82-47a5-b259-da62a397db92" providerId="ADAL" clId="{CC804E0E-B381-4A8C-832B-11046074747A}" dt="2023-09-27T07:53:49.805" v="3351" actId="20577"/>
          <ac:spMkLst>
            <pc:docMk/>
            <pc:sldMk cId="637503088" sldId="313"/>
            <ac:spMk id="15" creationId="{9C6F2DC5-280B-B242-0715-F5482580179E}"/>
          </ac:spMkLst>
        </pc:spChg>
        <pc:spChg chg="add del mod">
          <ac:chgData name="Tobias Brammer" userId="80a1e1bd-3b82-47a5-b259-da62a397db92" providerId="ADAL" clId="{CC804E0E-B381-4A8C-832B-11046074747A}" dt="2023-09-27T07:57:27.468" v="3661" actId="478"/>
          <ac:spMkLst>
            <pc:docMk/>
            <pc:sldMk cId="637503088" sldId="313"/>
            <ac:spMk id="17" creationId="{C8B9D12A-22CA-59A6-6130-B5A9C6FB9046}"/>
          </ac:spMkLst>
        </pc:spChg>
        <pc:spChg chg="add del mod">
          <ac:chgData name="Tobias Brammer" userId="80a1e1bd-3b82-47a5-b259-da62a397db92" providerId="ADAL" clId="{CC804E0E-B381-4A8C-832B-11046074747A}" dt="2023-09-27T07:57:24.964" v="3659" actId="478"/>
          <ac:spMkLst>
            <pc:docMk/>
            <pc:sldMk cId="637503088" sldId="313"/>
            <ac:spMk id="19" creationId="{D6CEC033-6E14-CD49-9742-5B5A5482B066}"/>
          </ac:spMkLst>
        </pc:spChg>
        <pc:spChg chg="add del mod">
          <ac:chgData name="Tobias Brammer" userId="80a1e1bd-3b82-47a5-b259-da62a397db92" providerId="ADAL" clId="{CC804E0E-B381-4A8C-832B-11046074747A}" dt="2023-09-27T07:57:25.832" v="3660" actId="478"/>
          <ac:spMkLst>
            <pc:docMk/>
            <pc:sldMk cId="637503088" sldId="313"/>
            <ac:spMk id="21" creationId="{A9AFD17C-6F54-F61D-D152-58712B3AB2F9}"/>
          </ac:spMkLst>
        </pc:spChg>
        <pc:spChg chg="add mod">
          <ac:chgData name="Tobias Brammer" userId="80a1e1bd-3b82-47a5-b259-da62a397db92" providerId="ADAL" clId="{CC804E0E-B381-4A8C-832B-11046074747A}" dt="2023-09-27T08:07:04.953" v="4854" actId="164"/>
          <ac:spMkLst>
            <pc:docMk/>
            <pc:sldMk cId="637503088" sldId="313"/>
            <ac:spMk id="22" creationId="{E8C399C7-C1E5-D310-9507-782E9AC692AD}"/>
          </ac:spMkLst>
        </pc:spChg>
        <pc:spChg chg="add mod">
          <ac:chgData name="Tobias Brammer" userId="80a1e1bd-3b82-47a5-b259-da62a397db92" providerId="ADAL" clId="{CC804E0E-B381-4A8C-832B-11046074747A}" dt="2023-09-27T08:08:12.231" v="4870" actId="552"/>
          <ac:spMkLst>
            <pc:docMk/>
            <pc:sldMk cId="637503088" sldId="313"/>
            <ac:spMk id="23" creationId="{A2CF2E1D-7AB4-1494-0202-03BB4783B61A}"/>
          </ac:spMkLst>
        </pc:spChg>
        <pc:spChg chg="add mod">
          <ac:chgData name="Tobias Brammer" userId="80a1e1bd-3b82-47a5-b259-da62a397db92" providerId="ADAL" clId="{CC804E0E-B381-4A8C-832B-11046074747A}" dt="2023-09-27T08:08:18.638" v="4872" actId="164"/>
          <ac:spMkLst>
            <pc:docMk/>
            <pc:sldMk cId="637503088" sldId="313"/>
            <ac:spMk id="24" creationId="{B7CB5A19-F73E-89F5-3B99-742957B1CF2B}"/>
          </ac:spMkLst>
        </pc:spChg>
        <pc:spChg chg="mod">
          <ac:chgData name="Tobias Brammer" userId="80a1e1bd-3b82-47a5-b259-da62a397db92" providerId="ADAL" clId="{CC804E0E-B381-4A8C-832B-11046074747A}" dt="2023-09-27T08:07:19.282" v="4857" actId="20577"/>
          <ac:spMkLst>
            <pc:docMk/>
            <pc:sldMk cId="637503088" sldId="313"/>
            <ac:spMk id="27" creationId="{FA06AD48-B719-5AE4-1C29-92301241A93A}"/>
          </ac:spMkLst>
        </pc:spChg>
        <pc:spChg chg="mod">
          <ac:chgData name="Tobias Brammer" userId="80a1e1bd-3b82-47a5-b259-da62a397db92" providerId="ADAL" clId="{CC804E0E-B381-4A8C-832B-11046074747A}" dt="2023-09-27T08:07:54.134" v="4868" actId="255"/>
          <ac:spMkLst>
            <pc:docMk/>
            <pc:sldMk cId="637503088" sldId="313"/>
            <ac:spMk id="28" creationId="{98D9ED06-1B29-6257-5CA9-5B684C58A0A5}"/>
          </ac:spMkLst>
        </pc:spChg>
        <pc:spChg chg="add del mod">
          <ac:chgData name="Tobias Brammer" userId="80a1e1bd-3b82-47a5-b259-da62a397db92" providerId="ADAL" clId="{CC804E0E-B381-4A8C-832B-11046074747A}" dt="2023-09-27T08:07:39.835" v="4866" actId="478"/>
          <ac:spMkLst>
            <pc:docMk/>
            <pc:sldMk cId="637503088" sldId="313"/>
            <ac:spMk id="30" creationId="{4080400C-7290-260C-B6F9-E374EBBC6C7C}"/>
          </ac:spMkLst>
        </pc:spChg>
        <pc:grpChg chg="add mod">
          <ac:chgData name="Tobias Brammer" userId="80a1e1bd-3b82-47a5-b259-da62a397db92" providerId="ADAL" clId="{CC804E0E-B381-4A8C-832B-11046074747A}" dt="2023-09-27T08:09:02.536" v="4882" actId="408"/>
          <ac:grpSpMkLst>
            <pc:docMk/>
            <pc:sldMk cId="637503088" sldId="313"/>
            <ac:grpSpMk id="25" creationId="{A2C2722A-AD85-3EE8-5CAB-992F35AC1BCE}"/>
          </ac:grpSpMkLst>
        </pc:grpChg>
        <pc:grpChg chg="add mod">
          <ac:chgData name="Tobias Brammer" userId="80a1e1bd-3b82-47a5-b259-da62a397db92" providerId="ADAL" clId="{CC804E0E-B381-4A8C-832B-11046074747A}" dt="2023-09-27T08:09:02.536" v="4882" actId="408"/>
          <ac:grpSpMkLst>
            <pc:docMk/>
            <pc:sldMk cId="637503088" sldId="313"/>
            <ac:grpSpMk id="26" creationId="{BBAB5653-01E6-4085-DCDC-F243ACBDB042}"/>
          </ac:grpSpMkLst>
        </pc:grpChg>
        <pc:grpChg chg="add mod">
          <ac:chgData name="Tobias Brammer" userId="80a1e1bd-3b82-47a5-b259-da62a397db92" providerId="ADAL" clId="{CC804E0E-B381-4A8C-832B-11046074747A}" dt="2023-09-27T08:09:02.536" v="4882" actId="408"/>
          <ac:grpSpMkLst>
            <pc:docMk/>
            <pc:sldMk cId="637503088" sldId="313"/>
            <ac:grpSpMk id="31" creationId="{F20FA6EF-6A98-C6F0-3793-BC9C516343D7}"/>
          </ac:grpSpMkLst>
        </pc:grpChg>
        <pc:grpChg chg="add mod">
          <ac:chgData name="Tobias Brammer" userId="80a1e1bd-3b82-47a5-b259-da62a397db92" providerId="ADAL" clId="{CC804E0E-B381-4A8C-832B-11046074747A}" dt="2023-09-27T08:09:02.536" v="4882" actId="408"/>
          <ac:grpSpMkLst>
            <pc:docMk/>
            <pc:sldMk cId="637503088" sldId="313"/>
            <ac:grpSpMk id="32" creationId="{B875996F-D7A7-7CE3-9681-69F3418BF28D}"/>
          </ac:grpSpMkLst>
        </pc:grpChg>
        <pc:graphicFrameChg chg="mod">
          <ac:chgData name="Tobias Brammer" userId="80a1e1bd-3b82-47a5-b259-da62a397db92" providerId="ADAL" clId="{CC804E0E-B381-4A8C-832B-11046074747A}" dt="2023-09-27T07:53:44.095" v="3323"/>
          <ac:graphicFrameMkLst>
            <pc:docMk/>
            <pc:sldMk cId="637503088" sldId="313"/>
            <ac:graphicFrameMk id="4" creationId="{DA4F5744-822E-272D-9EB9-E4CFFB864E67}"/>
          </ac:graphicFrameMkLst>
        </pc:graphicFrameChg>
      </pc:sldChg>
      <pc:sldChg chg="addSp delSp modSp add mod">
        <pc:chgData name="Tobias Brammer" userId="80a1e1bd-3b82-47a5-b259-da62a397db92" providerId="ADAL" clId="{CC804E0E-B381-4A8C-832B-11046074747A}" dt="2023-09-27T09:50:37.287" v="10836" actId="207"/>
        <pc:sldMkLst>
          <pc:docMk/>
          <pc:sldMk cId="1287878720" sldId="314"/>
        </pc:sldMkLst>
        <pc:spChg chg="mod">
          <ac:chgData name="Tobias Brammer" userId="80a1e1bd-3b82-47a5-b259-da62a397db92" providerId="ADAL" clId="{CC804E0E-B381-4A8C-832B-11046074747A}" dt="2023-09-27T07:47:29.232" v="1954" actId="948"/>
          <ac:spMkLst>
            <pc:docMk/>
            <pc:sldMk cId="1287878720" sldId="314"/>
            <ac:spMk id="2" creationId="{3C6F285B-6BE8-47BE-BAD4-8ACEEFC175A8}"/>
          </ac:spMkLst>
        </pc:spChg>
        <pc:spChg chg="mod">
          <ac:chgData name="Tobias Brammer" userId="80a1e1bd-3b82-47a5-b259-da62a397db92" providerId="ADAL" clId="{CC804E0E-B381-4A8C-832B-11046074747A}" dt="2023-09-27T09:50:32.549" v="10835" actId="207"/>
          <ac:spMkLst>
            <pc:docMk/>
            <pc:sldMk cId="1287878720" sldId="314"/>
            <ac:spMk id="4" creationId="{17B773D2-7093-DA26-F33E-B2F587C7ADFD}"/>
          </ac:spMkLst>
        </pc:spChg>
        <pc:spChg chg="mod">
          <ac:chgData name="Tobias Brammer" userId="80a1e1bd-3b82-47a5-b259-da62a397db92" providerId="ADAL" clId="{CC804E0E-B381-4A8C-832B-11046074747A}" dt="2023-09-27T09:50:32.549" v="10835" actId="207"/>
          <ac:spMkLst>
            <pc:docMk/>
            <pc:sldMk cId="1287878720" sldId="314"/>
            <ac:spMk id="5" creationId="{91DA30A7-B235-0097-CCB7-65E8CA40C29B}"/>
          </ac:spMkLst>
        </pc:spChg>
        <pc:spChg chg="mod">
          <ac:chgData name="Tobias Brammer" userId="80a1e1bd-3b82-47a5-b259-da62a397db92" providerId="ADAL" clId="{CC804E0E-B381-4A8C-832B-11046074747A}" dt="2023-09-27T09:50:03.711" v="10832" actId="207"/>
          <ac:spMkLst>
            <pc:docMk/>
            <pc:sldMk cId="1287878720" sldId="314"/>
            <ac:spMk id="8" creationId="{8E492FCB-C2C0-467D-A668-B1FD59DC4F32}"/>
          </ac:spMkLst>
        </pc:spChg>
        <pc:spChg chg="mod">
          <ac:chgData name="Tobias Brammer" userId="80a1e1bd-3b82-47a5-b259-da62a397db92" providerId="ADAL" clId="{CC804E0E-B381-4A8C-832B-11046074747A}" dt="2023-09-27T09:50:03.711" v="10832" actId="207"/>
          <ac:spMkLst>
            <pc:docMk/>
            <pc:sldMk cId="1287878720" sldId="314"/>
            <ac:spMk id="9" creationId="{8140DF04-B4DC-4986-9C6D-DDE15FD1CA31}"/>
          </ac:spMkLst>
        </pc:spChg>
        <pc:spChg chg="mod">
          <ac:chgData name="Tobias Brammer" userId="80a1e1bd-3b82-47a5-b259-da62a397db92" providerId="ADAL" clId="{CC804E0E-B381-4A8C-832B-11046074747A}" dt="2023-09-27T09:50:09.533" v="10833" actId="207"/>
          <ac:spMkLst>
            <pc:docMk/>
            <pc:sldMk cId="1287878720" sldId="314"/>
            <ac:spMk id="10" creationId="{CBA4467F-4AF6-4FDA-A3A1-6FFF686B5694}"/>
          </ac:spMkLst>
        </pc:spChg>
        <pc:spChg chg="mod">
          <ac:chgData name="Tobias Brammer" userId="80a1e1bd-3b82-47a5-b259-da62a397db92" providerId="ADAL" clId="{CC804E0E-B381-4A8C-832B-11046074747A}" dt="2023-09-27T09:50:09.533" v="10833" actId="207"/>
          <ac:spMkLst>
            <pc:docMk/>
            <pc:sldMk cId="1287878720" sldId="314"/>
            <ac:spMk id="11" creationId="{8EF3D609-41B5-4A56-8942-7DC08C4DC25A}"/>
          </ac:spMkLst>
        </pc:spChg>
        <pc:spChg chg="mod">
          <ac:chgData name="Tobias Brammer" userId="80a1e1bd-3b82-47a5-b259-da62a397db92" providerId="ADAL" clId="{CC804E0E-B381-4A8C-832B-11046074747A}" dt="2023-09-27T09:50:12.660" v="10834" actId="207"/>
          <ac:spMkLst>
            <pc:docMk/>
            <pc:sldMk cId="1287878720" sldId="314"/>
            <ac:spMk id="12" creationId="{702BF8D8-1F1E-4939-B5E8-A6D1C6691326}"/>
          </ac:spMkLst>
        </pc:spChg>
        <pc:spChg chg="mod">
          <ac:chgData name="Tobias Brammer" userId="80a1e1bd-3b82-47a5-b259-da62a397db92" providerId="ADAL" clId="{CC804E0E-B381-4A8C-832B-11046074747A}" dt="2023-09-27T09:50:12.660" v="10834" actId="207"/>
          <ac:spMkLst>
            <pc:docMk/>
            <pc:sldMk cId="1287878720" sldId="314"/>
            <ac:spMk id="13" creationId="{50C5CCBA-0874-4BEE-99C2-CC4082D3A1FF}"/>
          </ac:spMkLst>
        </pc:spChg>
        <pc:spChg chg="add del mod">
          <ac:chgData name="Tobias Brammer" userId="80a1e1bd-3b82-47a5-b259-da62a397db92" providerId="ADAL" clId="{CC804E0E-B381-4A8C-832B-11046074747A}" dt="2023-09-27T09:47:07.959" v="10815" actId="931"/>
          <ac:spMkLst>
            <pc:docMk/>
            <pc:sldMk cId="1287878720" sldId="314"/>
            <ac:spMk id="19" creationId="{0BD12D19-C0A6-CD02-F576-398603F6706F}"/>
          </ac:spMkLst>
        </pc:spChg>
        <pc:spChg chg="mod">
          <ac:chgData name="Tobias Brammer" userId="80a1e1bd-3b82-47a5-b259-da62a397db92" providerId="ADAL" clId="{CC804E0E-B381-4A8C-832B-11046074747A}" dt="2023-09-27T09:50:37.287" v="10836" actId="207"/>
          <ac:spMkLst>
            <pc:docMk/>
            <pc:sldMk cId="1287878720" sldId="314"/>
            <ac:spMk id="44" creationId="{D4413DAA-FF4B-72CF-2B47-6E8B26147098}"/>
          </ac:spMkLst>
        </pc:spChg>
        <pc:spChg chg="mod">
          <ac:chgData name="Tobias Brammer" userId="80a1e1bd-3b82-47a5-b259-da62a397db92" providerId="ADAL" clId="{CC804E0E-B381-4A8C-832B-11046074747A}" dt="2023-09-27T09:50:37.287" v="10836" actId="207"/>
          <ac:spMkLst>
            <pc:docMk/>
            <pc:sldMk cId="1287878720" sldId="314"/>
            <ac:spMk id="45" creationId="{7D44CCBE-33B5-1195-B0AA-7EE1E6AD8555}"/>
          </ac:spMkLst>
        </pc:spChg>
        <pc:graphicFrameChg chg="mod">
          <ac:chgData name="Tobias Brammer" userId="80a1e1bd-3b82-47a5-b259-da62a397db92" providerId="ADAL" clId="{CC804E0E-B381-4A8C-832B-11046074747A}" dt="2023-09-27T07:47:29.232" v="1958"/>
          <ac:graphicFrameMkLst>
            <pc:docMk/>
            <pc:sldMk cId="1287878720" sldId="314"/>
            <ac:graphicFrameMk id="3" creationId="{AB86B848-EDE9-F4A9-108A-F58D243B51C5}"/>
          </ac:graphicFrameMkLst>
        </pc:graphicFrameChg>
        <pc:picChg chg="add del mod">
          <ac:chgData name="Tobias Brammer" userId="80a1e1bd-3b82-47a5-b259-da62a397db92" providerId="ADAL" clId="{CC804E0E-B381-4A8C-832B-11046074747A}" dt="2023-09-27T09:46:52.761" v="10814"/>
          <ac:picMkLst>
            <pc:docMk/>
            <pc:sldMk cId="1287878720" sldId="314"/>
            <ac:picMk id="21" creationId="{7B472B62-A4D3-8E7B-EB71-F3ABCCDD01AA}"/>
          </ac:picMkLst>
        </pc:picChg>
        <pc:picChg chg="del">
          <ac:chgData name="Tobias Brammer" userId="80a1e1bd-3b82-47a5-b259-da62a397db92" providerId="ADAL" clId="{CC804E0E-B381-4A8C-832B-11046074747A}" dt="2023-09-27T09:46:51.470" v="10812" actId="478"/>
          <ac:picMkLst>
            <pc:docMk/>
            <pc:sldMk cId="1287878720" sldId="314"/>
            <ac:picMk id="22" creationId="{5CEAF9BE-0C77-42EF-A843-2DD67A37E7E0}"/>
          </ac:picMkLst>
        </pc:picChg>
        <pc:picChg chg="add mod">
          <ac:chgData name="Tobias Brammer" userId="80a1e1bd-3b82-47a5-b259-da62a397db92" providerId="ADAL" clId="{CC804E0E-B381-4A8C-832B-11046074747A}" dt="2023-09-27T09:47:07.959" v="10815" actId="931"/>
          <ac:picMkLst>
            <pc:docMk/>
            <pc:sldMk cId="1287878720" sldId="314"/>
            <ac:picMk id="24" creationId="{53AE1CB5-74B0-8748-0C1C-6A905AD892EF}"/>
          </ac:picMkLst>
        </pc:picChg>
      </pc:sldChg>
      <pc:sldChg chg="addSp delSp modSp add mod ord">
        <pc:chgData name="Tobias Brammer" userId="80a1e1bd-3b82-47a5-b259-da62a397db92" providerId="ADAL" clId="{CC804E0E-B381-4A8C-832B-11046074747A}" dt="2023-09-27T09:50:57.425" v="10841" actId="207"/>
        <pc:sldMkLst>
          <pc:docMk/>
          <pc:sldMk cId="2876952117" sldId="315"/>
        </pc:sldMkLst>
        <pc:spChg chg="mod">
          <ac:chgData name="Tobias Brammer" userId="80a1e1bd-3b82-47a5-b259-da62a397db92" providerId="ADAL" clId="{CC804E0E-B381-4A8C-832B-11046074747A}" dt="2023-09-27T07:47:31.156" v="1960" actId="948"/>
          <ac:spMkLst>
            <pc:docMk/>
            <pc:sldMk cId="2876952117" sldId="315"/>
            <ac:spMk id="2" creationId="{3C6F285B-6BE8-47BE-BAD4-8ACEEFC175A8}"/>
          </ac:spMkLst>
        </pc:spChg>
        <pc:spChg chg="mod">
          <ac:chgData name="Tobias Brammer" userId="80a1e1bd-3b82-47a5-b259-da62a397db92" providerId="ADAL" clId="{CC804E0E-B381-4A8C-832B-11046074747A}" dt="2023-09-27T09:50:54.867" v="10840" actId="207"/>
          <ac:spMkLst>
            <pc:docMk/>
            <pc:sldMk cId="2876952117" sldId="315"/>
            <ac:spMk id="4" creationId="{17B773D2-7093-DA26-F33E-B2F587C7ADFD}"/>
          </ac:spMkLst>
        </pc:spChg>
        <pc:spChg chg="mod">
          <ac:chgData name="Tobias Brammer" userId="80a1e1bd-3b82-47a5-b259-da62a397db92" providerId="ADAL" clId="{CC804E0E-B381-4A8C-832B-11046074747A}" dt="2023-09-27T09:50:54.867" v="10840" actId="207"/>
          <ac:spMkLst>
            <pc:docMk/>
            <pc:sldMk cId="2876952117" sldId="315"/>
            <ac:spMk id="5" creationId="{91DA30A7-B235-0097-CCB7-65E8CA40C29B}"/>
          </ac:spMkLst>
        </pc:spChg>
        <pc:spChg chg="mod">
          <ac:chgData name="Tobias Brammer" userId="80a1e1bd-3b82-47a5-b259-da62a397db92" providerId="ADAL" clId="{CC804E0E-B381-4A8C-832B-11046074747A}" dt="2023-09-27T09:50:44.413" v="10837" actId="207"/>
          <ac:spMkLst>
            <pc:docMk/>
            <pc:sldMk cId="2876952117" sldId="315"/>
            <ac:spMk id="6" creationId="{CDC222EA-31E5-4543-973D-6351289EEE35}"/>
          </ac:spMkLst>
        </pc:spChg>
        <pc:spChg chg="mod">
          <ac:chgData name="Tobias Brammer" userId="80a1e1bd-3b82-47a5-b259-da62a397db92" providerId="ADAL" clId="{CC804E0E-B381-4A8C-832B-11046074747A}" dt="2023-09-27T09:50:44.413" v="10837" actId="207"/>
          <ac:spMkLst>
            <pc:docMk/>
            <pc:sldMk cId="2876952117" sldId="315"/>
            <ac:spMk id="7" creationId="{F787AB7F-95DA-4686-8C4E-D8E93F97EFAD}"/>
          </ac:spMkLst>
        </pc:spChg>
        <pc:spChg chg="mod">
          <ac:chgData name="Tobias Brammer" userId="80a1e1bd-3b82-47a5-b259-da62a397db92" providerId="ADAL" clId="{CC804E0E-B381-4A8C-832B-11046074747A}" dt="2023-09-27T09:50:47.330" v="10838" actId="207"/>
          <ac:spMkLst>
            <pc:docMk/>
            <pc:sldMk cId="2876952117" sldId="315"/>
            <ac:spMk id="10" creationId="{CBA4467F-4AF6-4FDA-A3A1-6FFF686B5694}"/>
          </ac:spMkLst>
        </pc:spChg>
        <pc:spChg chg="mod">
          <ac:chgData name="Tobias Brammer" userId="80a1e1bd-3b82-47a5-b259-da62a397db92" providerId="ADAL" clId="{CC804E0E-B381-4A8C-832B-11046074747A}" dt="2023-09-27T09:50:47.330" v="10838" actId="207"/>
          <ac:spMkLst>
            <pc:docMk/>
            <pc:sldMk cId="2876952117" sldId="315"/>
            <ac:spMk id="11" creationId="{8EF3D609-41B5-4A56-8942-7DC08C4DC25A}"/>
          </ac:spMkLst>
        </pc:spChg>
        <pc:spChg chg="mod">
          <ac:chgData name="Tobias Brammer" userId="80a1e1bd-3b82-47a5-b259-da62a397db92" providerId="ADAL" clId="{CC804E0E-B381-4A8C-832B-11046074747A}" dt="2023-09-27T09:50:51.206" v="10839" actId="207"/>
          <ac:spMkLst>
            <pc:docMk/>
            <pc:sldMk cId="2876952117" sldId="315"/>
            <ac:spMk id="12" creationId="{702BF8D8-1F1E-4939-B5E8-A6D1C6691326}"/>
          </ac:spMkLst>
        </pc:spChg>
        <pc:spChg chg="mod">
          <ac:chgData name="Tobias Brammer" userId="80a1e1bd-3b82-47a5-b259-da62a397db92" providerId="ADAL" clId="{CC804E0E-B381-4A8C-832B-11046074747A}" dt="2023-09-27T09:50:51.206" v="10839" actId="207"/>
          <ac:spMkLst>
            <pc:docMk/>
            <pc:sldMk cId="2876952117" sldId="315"/>
            <ac:spMk id="13" creationId="{50C5CCBA-0874-4BEE-99C2-CC4082D3A1FF}"/>
          </ac:spMkLst>
        </pc:spChg>
        <pc:spChg chg="add del">
          <ac:chgData name="Tobias Brammer" userId="80a1e1bd-3b82-47a5-b259-da62a397db92" providerId="ADAL" clId="{CC804E0E-B381-4A8C-832B-11046074747A}" dt="2023-09-27T07:47:36.018" v="1967" actId="22"/>
          <ac:spMkLst>
            <pc:docMk/>
            <pc:sldMk cId="2876952117" sldId="315"/>
            <ac:spMk id="19" creationId="{2EE6ACE6-FA50-A95A-6D0C-639C6469955C}"/>
          </ac:spMkLst>
        </pc:spChg>
        <pc:spChg chg="add del mod">
          <ac:chgData name="Tobias Brammer" userId="80a1e1bd-3b82-47a5-b259-da62a397db92" providerId="ADAL" clId="{CC804E0E-B381-4A8C-832B-11046074747A}" dt="2023-09-27T09:47:35.511" v="10817" actId="931"/>
          <ac:spMkLst>
            <pc:docMk/>
            <pc:sldMk cId="2876952117" sldId="315"/>
            <ac:spMk id="23" creationId="{BCDE5294-B66A-EE66-77EA-92FEBAB105A3}"/>
          </ac:spMkLst>
        </pc:spChg>
        <pc:spChg chg="mod">
          <ac:chgData name="Tobias Brammer" userId="80a1e1bd-3b82-47a5-b259-da62a397db92" providerId="ADAL" clId="{CC804E0E-B381-4A8C-832B-11046074747A}" dt="2023-09-27T09:50:57.425" v="10841" actId="207"/>
          <ac:spMkLst>
            <pc:docMk/>
            <pc:sldMk cId="2876952117" sldId="315"/>
            <ac:spMk id="44" creationId="{D4413DAA-FF4B-72CF-2B47-6E8B26147098}"/>
          </ac:spMkLst>
        </pc:spChg>
        <pc:spChg chg="mod">
          <ac:chgData name="Tobias Brammer" userId="80a1e1bd-3b82-47a5-b259-da62a397db92" providerId="ADAL" clId="{CC804E0E-B381-4A8C-832B-11046074747A}" dt="2023-09-27T09:50:57.425" v="10841" actId="207"/>
          <ac:spMkLst>
            <pc:docMk/>
            <pc:sldMk cId="2876952117" sldId="315"/>
            <ac:spMk id="45" creationId="{7D44CCBE-33B5-1195-B0AA-7EE1E6AD8555}"/>
          </ac:spMkLst>
        </pc:spChg>
        <pc:graphicFrameChg chg="mod">
          <ac:chgData name="Tobias Brammer" userId="80a1e1bd-3b82-47a5-b259-da62a397db92" providerId="ADAL" clId="{CC804E0E-B381-4A8C-832B-11046074747A}" dt="2023-09-27T07:47:31.172" v="1964"/>
          <ac:graphicFrameMkLst>
            <pc:docMk/>
            <pc:sldMk cId="2876952117" sldId="315"/>
            <ac:graphicFrameMk id="3" creationId="{AB86B848-EDE9-F4A9-108A-F58D243B51C5}"/>
          </ac:graphicFrameMkLst>
        </pc:graphicFrameChg>
        <pc:picChg chg="del">
          <ac:chgData name="Tobias Brammer" userId="80a1e1bd-3b82-47a5-b259-da62a397db92" providerId="ADAL" clId="{CC804E0E-B381-4A8C-832B-11046074747A}" dt="2023-09-27T09:47:20.070" v="10816" actId="478"/>
          <ac:picMkLst>
            <pc:docMk/>
            <pc:sldMk cId="2876952117" sldId="315"/>
            <ac:picMk id="22" creationId="{5CEAF9BE-0C77-42EF-A843-2DD67A37E7E0}"/>
          </ac:picMkLst>
        </pc:picChg>
        <pc:picChg chg="add mod">
          <ac:chgData name="Tobias Brammer" userId="80a1e1bd-3b82-47a5-b259-da62a397db92" providerId="ADAL" clId="{CC804E0E-B381-4A8C-832B-11046074747A}" dt="2023-09-27T09:47:35.511" v="10817" actId="931"/>
          <ac:picMkLst>
            <pc:docMk/>
            <pc:sldMk cId="2876952117" sldId="315"/>
            <ac:picMk id="25" creationId="{47F72850-556D-07BA-2992-E1CAF5869C4E}"/>
          </ac:picMkLst>
        </pc:picChg>
      </pc:sldChg>
      <pc:sldChg chg="addSp delSp modSp add mod">
        <pc:chgData name="Tobias Brammer" userId="80a1e1bd-3b82-47a5-b259-da62a397db92" providerId="ADAL" clId="{CC804E0E-B381-4A8C-832B-11046074747A}" dt="2023-09-27T09:51:15.496" v="10842" actId="207"/>
        <pc:sldMkLst>
          <pc:docMk/>
          <pc:sldMk cId="3608097450" sldId="316"/>
        </pc:sldMkLst>
        <pc:spChg chg="mod">
          <ac:chgData name="Tobias Brammer" userId="80a1e1bd-3b82-47a5-b259-da62a397db92" providerId="ADAL" clId="{CC804E0E-B381-4A8C-832B-11046074747A}" dt="2023-09-27T09:51:15.496" v="10842" actId="207"/>
          <ac:spMkLst>
            <pc:docMk/>
            <pc:sldMk cId="3608097450" sldId="316"/>
            <ac:spMk id="4" creationId="{17B773D2-7093-DA26-F33E-B2F587C7ADFD}"/>
          </ac:spMkLst>
        </pc:spChg>
        <pc:spChg chg="mod">
          <ac:chgData name="Tobias Brammer" userId="80a1e1bd-3b82-47a5-b259-da62a397db92" providerId="ADAL" clId="{CC804E0E-B381-4A8C-832B-11046074747A}" dt="2023-09-27T09:51:15.496" v="10842" actId="207"/>
          <ac:spMkLst>
            <pc:docMk/>
            <pc:sldMk cId="3608097450" sldId="316"/>
            <ac:spMk id="5" creationId="{91DA30A7-B235-0097-CCB7-65E8CA40C29B}"/>
          </ac:spMkLst>
        </pc:spChg>
        <pc:spChg chg="mod">
          <ac:chgData name="Tobias Brammer" userId="80a1e1bd-3b82-47a5-b259-da62a397db92" providerId="ADAL" clId="{CC804E0E-B381-4A8C-832B-11046074747A}" dt="2023-09-27T09:51:15.496" v="10842" actId="207"/>
          <ac:spMkLst>
            <pc:docMk/>
            <pc:sldMk cId="3608097450" sldId="316"/>
            <ac:spMk id="6" creationId="{CDC222EA-31E5-4543-973D-6351289EEE35}"/>
          </ac:spMkLst>
        </pc:spChg>
        <pc:spChg chg="mod">
          <ac:chgData name="Tobias Brammer" userId="80a1e1bd-3b82-47a5-b259-da62a397db92" providerId="ADAL" clId="{CC804E0E-B381-4A8C-832B-11046074747A}" dt="2023-09-27T09:51:15.496" v="10842" actId="207"/>
          <ac:spMkLst>
            <pc:docMk/>
            <pc:sldMk cId="3608097450" sldId="316"/>
            <ac:spMk id="7" creationId="{F787AB7F-95DA-4686-8C4E-D8E93F97EFAD}"/>
          </ac:spMkLst>
        </pc:spChg>
        <pc:spChg chg="mod">
          <ac:chgData name="Tobias Brammer" userId="80a1e1bd-3b82-47a5-b259-da62a397db92" providerId="ADAL" clId="{CC804E0E-B381-4A8C-832B-11046074747A}" dt="2023-09-27T09:51:15.496" v="10842" actId="207"/>
          <ac:spMkLst>
            <pc:docMk/>
            <pc:sldMk cId="3608097450" sldId="316"/>
            <ac:spMk id="8" creationId="{8E492FCB-C2C0-467D-A668-B1FD59DC4F32}"/>
          </ac:spMkLst>
        </pc:spChg>
        <pc:spChg chg="mod">
          <ac:chgData name="Tobias Brammer" userId="80a1e1bd-3b82-47a5-b259-da62a397db92" providerId="ADAL" clId="{CC804E0E-B381-4A8C-832B-11046074747A}" dt="2023-09-27T09:51:15.496" v="10842" actId="207"/>
          <ac:spMkLst>
            <pc:docMk/>
            <pc:sldMk cId="3608097450" sldId="316"/>
            <ac:spMk id="9" creationId="{8140DF04-B4DC-4986-9C6D-DDE15FD1CA31}"/>
          </ac:spMkLst>
        </pc:spChg>
        <pc:spChg chg="mod">
          <ac:chgData name="Tobias Brammer" userId="80a1e1bd-3b82-47a5-b259-da62a397db92" providerId="ADAL" clId="{CC804E0E-B381-4A8C-832B-11046074747A}" dt="2023-09-27T09:51:15.496" v="10842" actId="207"/>
          <ac:spMkLst>
            <pc:docMk/>
            <pc:sldMk cId="3608097450" sldId="316"/>
            <ac:spMk id="12" creationId="{702BF8D8-1F1E-4939-B5E8-A6D1C6691326}"/>
          </ac:spMkLst>
        </pc:spChg>
        <pc:spChg chg="mod">
          <ac:chgData name="Tobias Brammer" userId="80a1e1bd-3b82-47a5-b259-da62a397db92" providerId="ADAL" clId="{CC804E0E-B381-4A8C-832B-11046074747A}" dt="2023-09-27T09:51:15.496" v="10842" actId="207"/>
          <ac:spMkLst>
            <pc:docMk/>
            <pc:sldMk cId="3608097450" sldId="316"/>
            <ac:spMk id="13" creationId="{50C5CCBA-0874-4BEE-99C2-CC4082D3A1FF}"/>
          </ac:spMkLst>
        </pc:spChg>
        <pc:spChg chg="add del mod">
          <ac:chgData name="Tobias Brammer" userId="80a1e1bd-3b82-47a5-b259-da62a397db92" providerId="ADAL" clId="{CC804E0E-B381-4A8C-832B-11046074747A}" dt="2023-09-27T09:47:45.283" v="10819" actId="931"/>
          <ac:spMkLst>
            <pc:docMk/>
            <pc:sldMk cId="3608097450" sldId="316"/>
            <ac:spMk id="19" creationId="{EFDE90FE-BE0E-856C-A70E-544E1FEED5CC}"/>
          </ac:spMkLst>
        </pc:spChg>
        <pc:spChg chg="mod">
          <ac:chgData name="Tobias Brammer" userId="80a1e1bd-3b82-47a5-b259-da62a397db92" providerId="ADAL" clId="{CC804E0E-B381-4A8C-832B-11046074747A}" dt="2023-09-27T09:51:15.496" v="10842" actId="207"/>
          <ac:spMkLst>
            <pc:docMk/>
            <pc:sldMk cId="3608097450" sldId="316"/>
            <ac:spMk id="44" creationId="{D4413DAA-FF4B-72CF-2B47-6E8B26147098}"/>
          </ac:spMkLst>
        </pc:spChg>
        <pc:spChg chg="mod">
          <ac:chgData name="Tobias Brammer" userId="80a1e1bd-3b82-47a5-b259-da62a397db92" providerId="ADAL" clId="{CC804E0E-B381-4A8C-832B-11046074747A}" dt="2023-09-27T09:51:15.496" v="10842" actId="207"/>
          <ac:spMkLst>
            <pc:docMk/>
            <pc:sldMk cId="3608097450" sldId="316"/>
            <ac:spMk id="45" creationId="{7D44CCBE-33B5-1195-B0AA-7EE1E6AD8555}"/>
          </ac:spMkLst>
        </pc:spChg>
        <pc:picChg chg="del">
          <ac:chgData name="Tobias Brammer" userId="80a1e1bd-3b82-47a5-b259-da62a397db92" providerId="ADAL" clId="{CC804E0E-B381-4A8C-832B-11046074747A}" dt="2023-09-27T09:47:40.978" v="10818" actId="478"/>
          <ac:picMkLst>
            <pc:docMk/>
            <pc:sldMk cId="3608097450" sldId="316"/>
            <ac:picMk id="22" creationId="{5CEAF9BE-0C77-42EF-A843-2DD67A37E7E0}"/>
          </ac:picMkLst>
        </pc:picChg>
        <pc:picChg chg="add mod">
          <ac:chgData name="Tobias Brammer" userId="80a1e1bd-3b82-47a5-b259-da62a397db92" providerId="ADAL" clId="{CC804E0E-B381-4A8C-832B-11046074747A}" dt="2023-09-27T09:47:45.283" v="10819" actId="931"/>
          <ac:picMkLst>
            <pc:docMk/>
            <pc:sldMk cId="3608097450" sldId="316"/>
            <ac:picMk id="23" creationId="{48549432-49AA-50F6-E18A-166229001C22}"/>
          </ac:picMkLst>
        </pc:picChg>
      </pc:sldChg>
      <pc:sldChg chg="addSp delSp modSp add mod">
        <pc:chgData name="Tobias Brammer" userId="80a1e1bd-3b82-47a5-b259-da62a397db92" providerId="ADAL" clId="{CC804E0E-B381-4A8C-832B-11046074747A}" dt="2023-09-27T09:51:29.533" v="10843" actId="207"/>
        <pc:sldMkLst>
          <pc:docMk/>
          <pc:sldMk cId="4003877205" sldId="317"/>
        </pc:sldMkLst>
        <pc:spChg chg="mod">
          <ac:chgData name="Tobias Brammer" userId="80a1e1bd-3b82-47a5-b259-da62a397db92" providerId="ADAL" clId="{CC804E0E-B381-4A8C-832B-11046074747A}" dt="2023-09-27T09:51:29.533" v="10843" actId="207"/>
          <ac:spMkLst>
            <pc:docMk/>
            <pc:sldMk cId="4003877205" sldId="317"/>
            <ac:spMk id="4" creationId="{17B773D2-7093-DA26-F33E-B2F587C7ADFD}"/>
          </ac:spMkLst>
        </pc:spChg>
        <pc:spChg chg="mod">
          <ac:chgData name="Tobias Brammer" userId="80a1e1bd-3b82-47a5-b259-da62a397db92" providerId="ADAL" clId="{CC804E0E-B381-4A8C-832B-11046074747A}" dt="2023-09-27T09:51:29.533" v="10843" actId="207"/>
          <ac:spMkLst>
            <pc:docMk/>
            <pc:sldMk cId="4003877205" sldId="317"/>
            <ac:spMk id="5" creationId="{91DA30A7-B235-0097-CCB7-65E8CA40C29B}"/>
          </ac:spMkLst>
        </pc:spChg>
        <pc:spChg chg="mod">
          <ac:chgData name="Tobias Brammer" userId="80a1e1bd-3b82-47a5-b259-da62a397db92" providerId="ADAL" clId="{CC804E0E-B381-4A8C-832B-11046074747A}" dt="2023-09-27T09:51:29.533" v="10843" actId="207"/>
          <ac:spMkLst>
            <pc:docMk/>
            <pc:sldMk cId="4003877205" sldId="317"/>
            <ac:spMk id="6" creationId="{CDC222EA-31E5-4543-973D-6351289EEE35}"/>
          </ac:spMkLst>
        </pc:spChg>
        <pc:spChg chg="mod">
          <ac:chgData name="Tobias Brammer" userId="80a1e1bd-3b82-47a5-b259-da62a397db92" providerId="ADAL" clId="{CC804E0E-B381-4A8C-832B-11046074747A}" dt="2023-09-27T09:51:29.533" v="10843" actId="207"/>
          <ac:spMkLst>
            <pc:docMk/>
            <pc:sldMk cId="4003877205" sldId="317"/>
            <ac:spMk id="7" creationId="{F787AB7F-95DA-4686-8C4E-D8E93F97EFAD}"/>
          </ac:spMkLst>
        </pc:spChg>
        <pc:spChg chg="mod">
          <ac:chgData name="Tobias Brammer" userId="80a1e1bd-3b82-47a5-b259-da62a397db92" providerId="ADAL" clId="{CC804E0E-B381-4A8C-832B-11046074747A}" dt="2023-09-27T09:51:29.533" v="10843" actId="207"/>
          <ac:spMkLst>
            <pc:docMk/>
            <pc:sldMk cId="4003877205" sldId="317"/>
            <ac:spMk id="8" creationId="{8E492FCB-C2C0-467D-A668-B1FD59DC4F32}"/>
          </ac:spMkLst>
        </pc:spChg>
        <pc:spChg chg="mod">
          <ac:chgData name="Tobias Brammer" userId="80a1e1bd-3b82-47a5-b259-da62a397db92" providerId="ADAL" clId="{CC804E0E-B381-4A8C-832B-11046074747A}" dt="2023-09-27T09:51:29.533" v="10843" actId="207"/>
          <ac:spMkLst>
            <pc:docMk/>
            <pc:sldMk cId="4003877205" sldId="317"/>
            <ac:spMk id="9" creationId="{8140DF04-B4DC-4986-9C6D-DDE15FD1CA31}"/>
          </ac:spMkLst>
        </pc:spChg>
        <pc:spChg chg="mod">
          <ac:chgData name="Tobias Brammer" userId="80a1e1bd-3b82-47a5-b259-da62a397db92" providerId="ADAL" clId="{CC804E0E-B381-4A8C-832B-11046074747A}" dt="2023-09-27T09:51:29.533" v="10843" actId="207"/>
          <ac:spMkLst>
            <pc:docMk/>
            <pc:sldMk cId="4003877205" sldId="317"/>
            <ac:spMk id="10" creationId="{CBA4467F-4AF6-4FDA-A3A1-6FFF686B5694}"/>
          </ac:spMkLst>
        </pc:spChg>
        <pc:spChg chg="mod">
          <ac:chgData name="Tobias Brammer" userId="80a1e1bd-3b82-47a5-b259-da62a397db92" providerId="ADAL" clId="{CC804E0E-B381-4A8C-832B-11046074747A}" dt="2023-09-27T09:51:29.533" v="10843" actId="207"/>
          <ac:spMkLst>
            <pc:docMk/>
            <pc:sldMk cId="4003877205" sldId="317"/>
            <ac:spMk id="11" creationId="{8EF3D609-41B5-4A56-8942-7DC08C4DC25A}"/>
          </ac:spMkLst>
        </pc:spChg>
        <pc:spChg chg="add del mod">
          <ac:chgData name="Tobias Brammer" userId="80a1e1bd-3b82-47a5-b259-da62a397db92" providerId="ADAL" clId="{CC804E0E-B381-4A8C-832B-11046074747A}" dt="2023-09-27T09:47:54.624" v="10821" actId="931"/>
          <ac:spMkLst>
            <pc:docMk/>
            <pc:sldMk cId="4003877205" sldId="317"/>
            <ac:spMk id="19" creationId="{F138CEE4-5153-55D7-8CE5-800139D06199}"/>
          </ac:spMkLst>
        </pc:spChg>
        <pc:spChg chg="mod">
          <ac:chgData name="Tobias Brammer" userId="80a1e1bd-3b82-47a5-b259-da62a397db92" providerId="ADAL" clId="{CC804E0E-B381-4A8C-832B-11046074747A}" dt="2023-09-27T09:51:29.533" v="10843" actId="207"/>
          <ac:spMkLst>
            <pc:docMk/>
            <pc:sldMk cId="4003877205" sldId="317"/>
            <ac:spMk id="44" creationId="{D4413DAA-FF4B-72CF-2B47-6E8B26147098}"/>
          </ac:spMkLst>
        </pc:spChg>
        <pc:spChg chg="mod">
          <ac:chgData name="Tobias Brammer" userId="80a1e1bd-3b82-47a5-b259-da62a397db92" providerId="ADAL" clId="{CC804E0E-B381-4A8C-832B-11046074747A}" dt="2023-09-27T09:51:29.533" v="10843" actId="207"/>
          <ac:spMkLst>
            <pc:docMk/>
            <pc:sldMk cId="4003877205" sldId="317"/>
            <ac:spMk id="45" creationId="{7D44CCBE-33B5-1195-B0AA-7EE1E6AD8555}"/>
          </ac:spMkLst>
        </pc:spChg>
        <pc:picChg chg="del">
          <ac:chgData name="Tobias Brammer" userId="80a1e1bd-3b82-47a5-b259-da62a397db92" providerId="ADAL" clId="{CC804E0E-B381-4A8C-832B-11046074747A}" dt="2023-09-27T09:47:50.843" v="10820" actId="478"/>
          <ac:picMkLst>
            <pc:docMk/>
            <pc:sldMk cId="4003877205" sldId="317"/>
            <ac:picMk id="22" creationId="{5CEAF9BE-0C77-42EF-A843-2DD67A37E7E0}"/>
          </ac:picMkLst>
        </pc:picChg>
        <pc:picChg chg="add mod">
          <ac:chgData name="Tobias Brammer" userId="80a1e1bd-3b82-47a5-b259-da62a397db92" providerId="ADAL" clId="{CC804E0E-B381-4A8C-832B-11046074747A}" dt="2023-09-27T09:47:54.624" v="10821" actId="931"/>
          <ac:picMkLst>
            <pc:docMk/>
            <pc:sldMk cId="4003877205" sldId="317"/>
            <ac:picMk id="23" creationId="{D6804B78-DE4E-B939-80BD-A9B0009A6B44}"/>
          </ac:picMkLst>
        </pc:picChg>
      </pc:sldChg>
      <pc:sldChg chg="addSp delSp modSp add mod">
        <pc:chgData name="Tobias Brammer" userId="80a1e1bd-3b82-47a5-b259-da62a397db92" providerId="ADAL" clId="{CC804E0E-B381-4A8C-832B-11046074747A}" dt="2023-09-27T09:51:40.557" v="10844" actId="207"/>
        <pc:sldMkLst>
          <pc:docMk/>
          <pc:sldMk cId="911955254" sldId="318"/>
        </pc:sldMkLst>
        <pc:spChg chg="mod">
          <ac:chgData name="Tobias Brammer" userId="80a1e1bd-3b82-47a5-b259-da62a397db92" providerId="ADAL" clId="{CC804E0E-B381-4A8C-832B-11046074747A}" dt="2023-09-27T09:51:40.557" v="10844" actId="207"/>
          <ac:spMkLst>
            <pc:docMk/>
            <pc:sldMk cId="911955254" sldId="318"/>
            <ac:spMk id="6" creationId="{CDC222EA-31E5-4543-973D-6351289EEE35}"/>
          </ac:spMkLst>
        </pc:spChg>
        <pc:spChg chg="mod">
          <ac:chgData name="Tobias Brammer" userId="80a1e1bd-3b82-47a5-b259-da62a397db92" providerId="ADAL" clId="{CC804E0E-B381-4A8C-832B-11046074747A}" dt="2023-09-27T09:51:40.557" v="10844" actId="207"/>
          <ac:spMkLst>
            <pc:docMk/>
            <pc:sldMk cId="911955254" sldId="318"/>
            <ac:spMk id="7" creationId="{F787AB7F-95DA-4686-8C4E-D8E93F97EFAD}"/>
          </ac:spMkLst>
        </pc:spChg>
        <pc:spChg chg="mod">
          <ac:chgData name="Tobias Brammer" userId="80a1e1bd-3b82-47a5-b259-da62a397db92" providerId="ADAL" clId="{CC804E0E-B381-4A8C-832B-11046074747A}" dt="2023-09-27T09:51:40.557" v="10844" actId="207"/>
          <ac:spMkLst>
            <pc:docMk/>
            <pc:sldMk cId="911955254" sldId="318"/>
            <ac:spMk id="8" creationId="{8E492FCB-C2C0-467D-A668-B1FD59DC4F32}"/>
          </ac:spMkLst>
        </pc:spChg>
        <pc:spChg chg="mod">
          <ac:chgData name="Tobias Brammer" userId="80a1e1bd-3b82-47a5-b259-da62a397db92" providerId="ADAL" clId="{CC804E0E-B381-4A8C-832B-11046074747A}" dt="2023-09-27T09:51:40.557" v="10844" actId="207"/>
          <ac:spMkLst>
            <pc:docMk/>
            <pc:sldMk cId="911955254" sldId="318"/>
            <ac:spMk id="9" creationId="{8140DF04-B4DC-4986-9C6D-DDE15FD1CA31}"/>
          </ac:spMkLst>
        </pc:spChg>
        <pc:spChg chg="mod">
          <ac:chgData name="Tobias Brammer" userId="80a1e1bd-3b82-47a5-b259-da62a397db92" providerId="ADAL" clId="{CC804E0E-B381-4A8C-832B-11046074747A}" dt="2023-09-27T09:51:40.557" v="10844" actId="207"/>
          <ac:spMkLst>
            <pc:docMk/>
            <pc:sldMk cId="911955254" sldId="318"/>
            <ac:spMk id="10" creationId="{CBA4467F-4AF6-4FDA-A3A1-6FFF686B5694}"/>
          </ac:spMkLst>
        </pc:spChg>
        <pc:spChg chg="mod">
          <ac:chgData name="Tobias Brammer" userId="80a1e1bd-3b82-47a5-b259-da62a397db92" providerId="ADAL" clId="{CC804E0E-B381-4A8C-832B-11046074747A}" dt="2023-09-27T09:51:40.557" v="10844" actId="207"/>
          <ac:spMkLst>
            <pc:docMk/>
            <pc:sldMk cId="911955254" sldId="318"/>
            <ac:spMk id="11" creationId="{8EF3D609-41B5-4A56-8942-7DC08C4DC25A}"/>
          </ac:spMkLst>
        </pc:spChg>
        <pc:spChg chg="mod">
          <ac:chgData name="Tobias Brammer" userId="80a1e1bd-3b82-47a5-b259-da62a397db92" providerId="ADAL" clId="{CC804E0E-B381-4A8C-832B-11046074747A}" dt="2023-09-27T09:51:40.557" v="10844" actId="207"/>
          <ac:spMkLst>
            <pc:docMk/>
            <pc:sldMk cId="911955254" sldId="318"/>
            <ac:spMk id="12" creationId="{702BF8D8-1F1E-4939-B5E8-A6D1C6691326}"/>
          </ac:spMkLst>
        </pc:spChg>
        <pc:spChg chg="mod">
          <ac:chgData name="Tobias Brammer" userId="80a1e1bd-3b82-47a5-b259-da62a397db92" providerId="ADAL" clId="{CC804E0E-B381-4A8C-832B-11046074747A}" dt="2023-09-27T09:51:40.557" v="10844" actId="207"/>
          <ac:spMkLst>
            <pc:docMk/>
            <pc:sldMk cId="911955254" sldId="318"/>
            <ac:spMk id="13" creationId="{50C5CCBA-0874-4BEE-99C2-CC4082D3A1FF}"/>
          </ac:spMkLst>
        </pc:spChg>
        <pc:spChg chg="add del mod">
          <ac:chgData name="Tobias Brammer" userId="80a1e1bd-3b82-47a5-b259-da62a397db92" providerId="ADAL" clId="{CC804E0E-B381-4A8C-832B-11046074747A}" dt="2023-09-27T09:48:01.821" v="10823" actId="931"/>
          <ac:spMkLst>
            <pc:docMk/>
            <pc:sldMk cId="911955254" sldId="318"/>
            <ac:spMk id="19" creationId="{8E012EC9-985E-E65E-F0D6-D24EEBF288AE}"/>
          </ac:spMkLst>
        </pc:spChg>
        <pc:spChg chg="mod">
          <ac:chgData name="Tobias Brammer" userId="80a1e1bd-3b82-47a5-b259-da62a397db92" providerId="ADAL" clId="{CC804E0E-B381-4A8C-832B-11046074747A}" dt="2023-09-27T09:51:40.557" v="10844" actId="207"/>
          <ac:spMkLst>
            <pc:docMk/>
            <pc:sldMk cId="911955254" sldId="318"/>
            <ac:spMk id="44" creationId="{D4413DAA-FF4B-72CF-2B47-6E8B26147098}"/>
          </ac:spMkLst>
        </pc:spChg>
        <pc:spChg chg="mod">
          <ac:chgData name="Tobias Brammer" userId="80a1e1bd-3b82-47a5-b259-da62a397db92" providerId="ADAL" clId="{CC804E0E-B381-4A8C-832B-11046074747A}" dt="2023-09-27T09:51:40.557" v="10844" actId="207"/>
          <ac:spMkLst>
            <pc:docMk/>
            <pc:sldMk cId="911955254" sldId="318"/>
            <ac:spMk id="45" creationId="{7D44CCBE-33B5-1195-B0AA-7EE1E6AD8555}"/>
          </ac:spMkLst>
        </pc:spChg>
        <pc:picChg chg="del">
          <ac:chgData name="Tobias Brammer" userId="80a1e1bd-3b82-47a5-b259-da62a397db92" providerId="ADAL" clId="{CC804E0E-B381-4A8C-832B-11046074747A}" dt="2023-09-27T09:47:58.875" v="10822" actId="478"/>
          <ac:picMkLst>
            <pc:docMk/>
            <pc:sldMk cId="911955254" sldId="318"/>
            <ac:picMk id="22" creationId="{5CEAF9BE-0C77-42EF-A843-2DD67A37E7E0}"/>
          </ac:picMkLst>
        </pc:picChg>
        <pc:picChg chg="add mod">
          <ac:chgData name="Tobias Brammer" userId="80a1e1bd-3b82-47a5-b259-da62a397db92" providerId="ADAL" clId="{CC804E0E-B381-4A8C-832B-11046074747A}" dt="2023-09-27T09:48:01.821" v="10823" actId="931"/>
          <ac:picMkLst>
            <pc:docMk/>
            <pc:sldMk cId="911955254" sldId="318"/>
            <ac:picMk id="23" creationId="{EB01291D-C591-FF49-B6E9-903D33D3D6F9}"/>
          </ac:picMkLst>
        </pc:picChg>
      </pc:sldChg>
      <pc:sldChg chg="addSp delSp modSp add mod">
        <pc:chgData name="Tobias Brammer" userId="80a1e1bd-3b82-47a5-b259-da62a397db92" providerId="ADAL" clId="{CC804E0E-B381-4A8C-832B-11046074747A}" dt="2023-09-27T09:52:01.444" v="10845" actId="207"/>
        <pc:sldMkLst>
          <pc:docMk/>
          <pc:sldMk cId="4180894462" sldId="319"/>
        </pc:sldMkLst>
        <pc:spChg chg="mod">
          <ac:chgData name="Tobias Brammer" userId="80a1e1bd-3b82-47a5-b259-da62a397db92" providerId="ADAL" clId="{CC804E0E-B381-4A8C-832B-11046074747A}" dt="2023-09-27T09:52:01.444" v="10845" actId="207"/>
          <ac:spMkLst>
            <pc:docMk/>
            <pc:sldMk cId="4180894462" sldId="319"/>
            <ac:spMk id="4" creationId="{17B773D2-7093-DA26-F33E-B2F587C7ADFD}"/>
          </ac:spMkLst>
        </pc:spChg>
        <pc:spChg chg="mod">
          <ac:chgData name="Tobias Brammer" userId="80a1e1bd-3b82-47a5-b259-da62a397db92" providerId="ADAL" clId="{CC804E0E-B381-4A8C-832B-11046074747A}" dt="2023-09-27T09:52:01.444" v="10845" actId="207"/>
          <ac:spMkLst>
            <pc:docMk/>
            <pc:sldMk cId="4180894462" sldId="319"/>
            <ac:spMk id="5" creationId="{91DA30A7-B235-0097-CCB7-65E8CA40C29B}"/>
          </ac:spMkLst>
        </pc:spChg>
        <pc:spChg chg="mod">
          <ac:chgData name="Tobias Brammer" userId="80a1e1bd-3b82-47a5-b259-da62a397db92" providerId="ADAL" clId="{CC804E0E-B381-4A8C-832B-11046074747A}" dt="2023-09-27T09:52:01.444" v="10845" actId="207"/>
          <ac:spMkLst>
            <pc:docMk/>
            <pc:sldMk cId="4180894462" sldId="319"/>
            <ac:spMk id="6" creationId="{CDC222EA-31E5-4543-973D-6351289EEE35}"/>
          </ac:spMkLst>
        </pc:spChg>
        <pc:spChg chg="mod">
          <ac:chgData name="Tobias Brammer" userId="80a1e1bd-3b82-47a5-b259-da62a397db92" providerId="ADAL" clId="{CC804E0E-B381-4A8C-832B-11046074747A}" dt="2023-09-27T09:52:01.444" v="10845" actId="207"/>
          <ac:spMkLst>
            <pc:docMk/>
            <pc:sldMk cId="4180894462" sldId="319"/>
            <ac:spMk id="7" creationId="{F787AB7F-95DA-4686-8C4E-D8E93F97EFAD}"/>
          </ac:spMkLst>
        </pc:spChg>
        <pc:spChg chg="mod">
          <ac:chgData name="Tobias Brammer" userId="80a1e1bd-3b82-47a5-b259-da62a397db92" providerId="ADAL" clId="{CC804E0E-B381-4A8C-832B-11046074747A}" dt="2023-09-27T09:52:01.444" v="10845" actId="207"/>
          <ac:spMkLst>
            <pc:docMk/>
            <pc:sldMk cId="4180894462" sldId="319"/>
            <ac:spMk id="8" creationId="{8E492FCB-C2C0-467D-A668-B1FD59DC4F32}"/>
          </ac:spMkLst>
        </pc:spChg>
        <pc:spChg chg="mod">
          <ac:chgData name="Tobias Brammer" userId="80a1e1bd-3b82-47a5-b259-da62a397db92" providerId="ADAL" clId="{CC804E0E-B381-4A8C-832B-11046074747A}" dt="2023-09-27T09:52:01.444" v="10845" actId="207"/>
          <ac:spMkLst>
            <pc:docMk/>
            <pc:sldMk cId="4180894462" sldId="319"/>
            <ac:spMk id="9" creationId="{8140DF04-B4DC-4986-9C6D-DDE15FD1CA31}"/>
          </ac:spMkLst>
        </pc:spChg>
        <pc:spChg chg="mod">
          <ac:chgData name="Tobias Brammer" userId="80a1e1bd-3b82-47a5-b259-da62a397db92" providerId="ADAL" clId="{CC804E0E-B381-4A8C-832B-11046074747A}" dt="2023-09-27T09:52:01.444" v="10845" actId="207"/>
          <ac:spMkLst>
            <pc:docMk/>
            <pc:sldMk cId="4180894462" sldId="319"/>
            <ac:spMk id="10" creationId="{CBA4467F-4AF6-4FDA-A3A1-6FFF686B5694}"/>
          </ac:spMkLst>
        </pc:spChg>
        <pc:spChg chg="mod">
          <ac:chgData name="Tobias Brammer" userId="80a1e1bd-3b82-47a5-b259-da62a397db92" providerId="ADAL" clId="{CC804E0E-B381-4A8C-832B-11046074747A}" dt="2023-09-27T09:52:01.444" v="10845" actId="207"/>
          <ac:spMkLst>
            <pc:docMk/>
            <pc:sldMk cId="4180894462" sldId="319"/>
            <ac:spMk id="11" creationId="{8EF3D609-41B5-4A56-8942-7DC08C4DC25A}"/>
          </ac:spMkLst>
        </pc:spChg>
        <pc:spChg chg="mod">
          <ac:chgData name="Tobias Brammer" userId="80a1e1bd-3b82-47a5-b259-da62a397db92" providerId="ADAL" clId="{CC804E0E-B381-4A8C-832B-11046074747A}" dt="2023-09-27T09:52:01.444" v="10845" actId="207"/>
          <ac:spMkLst>
            <pc:docMk/>
            <pc:sldMk cId="4180894462" sldId="319"/>
            <ac:spMk id="12" creationId="{702BF8D8-1F1E-4939-B5E8-A6D1C6691326}"/>
          </ac:spMkLst>
        </pc:spChg>
        <pc:spChg chg="mod">
          <ac:chgData name="Tobias Brammer" userId="80a1e1bd-3b82-47a5-b259-da62a397db92" providerId="ADAL" clId="{CC804E0E-B381-4A8C-832B-11046074747A}" dt="2023-09-27T09:52:01.444" v="10845" actId="207"/>
          <ac:spMkLst>
            <pc:docMk/>
            <pc:sldMk cId="4180894462" sldId="319"/>
            <ac:spMk id="13" creationId="{50C5CCBA-0874-4BEE-99C2-CC4082D3A1FF}"/>
          </ac:spMkLst>
        </pc:spChg>
        <pc:spChg chg="add del mod">
          <ac:chgData name="Tobias Brammer" userId="80a1e1bd-3b82-47a5-b259-da62a397db92" providerId="ADAL" clId="{CC804E0E-B381-4A8C-832B-11046074747A}" dt="2023-09-27T09:48:09.185" v="10825" actId="931"/>
          <ac:spMkLst>
            <pc:docMk/>
            <pc:sldMk cId="4180894462" sldId="319"/>
            <ac:spMk id="19" creationId="{5A967870-8922-DA50-7497-791F25ACB19E}"/>
          </ac:spMkLst>
        </pc:spChg>
        <pc:picChg chg="del">
          <ac:chgData name="Tobias Brammer" userId="80a1e1bd-3b82-47a5-b259-da62a397db92" providerId="ADAL" clId="{CC804E0E-B381-4A8C-832B-11046074747A}" dt="2023-09-27T09:48:04.768" v="10824" actId="478"/>
          <ac:picMkLst>
            <pc:docMk/>
            <pc:sldMk cId="4180894462" sldId="319"/>
            <ac:picMk id="22" creationId="{5CEAF9BE-0C77-42EF-A843-2DD67A37E7E0}"/>
          </ac:picMkLst>
        </pc:picChg>
        <pc:picChg chg="add mod">
          <ac:chgData name="Tobias Brammer" userId="80a1e1bd-3b82-47a5-b259-da62a397db92" providerId="ADAL" clId="{CC804E0E-B381-4A8C-832B-11046074747A}" dt="2023-09-27T09:48:09.185" v="10825" actId="931"/>
          <ac:picMkLst>
            <pc:docMk/>
            <pc:sldMk cId="4180894462" sldId="319"/>
            <ac:picMk id="23" creationId="{0B637C6C-456C-8023-CD6E-7BBDBDCB184D}"/>
          </ac:picMkLst>
        </pc:picChg>
      </pc:sldChg>
      <pc:sldChg chg="addSp delSp modSp add mod ord">
        <pc:chgData name="Tobias Brammer" userId="80a1e1bd-3b82-47a5-b259-da62a397db92" providerId="ADAL" clId="{CC804E0E-B381-4A8C-832B-11046074747A}" dt="2023-09-27T11:37:48.493" v="11060" actId="20577"/>
        <pc:sldMkLst>
          <pc:docMk/>
          <pc:sldMk cId="1357849748" sldId="320"/>
        </pc:sldMkLst>
        <pc:spChg chg="del mod">
          <ac:chgData name="Tobias Brammer" userId="80a1e1bd-3b82-47a5-b259-da62a397db92" providerId="ADAL" clId="{CC804E0E-B381-4A8C-832B-11046074747A}" dt="2023-09-27T08:09:51.149" v="4888" actId="478"/>
          <ac:spMkLst>
            <pc:docMk/>
            <pc:sldMk cId="1357849748" sldId="320"/>
            <ac:spMk id="2" creationId="{F7A7B11F-5560-4450-B29C-AA36EE47DBD5}"/>
          </ac:spMkLst>
        </pc:spChg>
        <pc:spChg chg="del mod">
          <ac:chgData name="Tobias Brammer" userId="80a1e1bd-3b82-47a5-b259-da62a397db92" providerId="ADAL" clId="{CC804E0E-B381-4A8C-832B-11046074747A}" dt="2023-09-27T08:09:46.925" v="4886" actId="478"/>
          <ac:spMkLst>
            <pc:docMk/>
            <pc:sldMk cId="1357849748" sldId="320"/>
            <ac:spMk id="3" creationId="{DBBA62F8-ABAB-0796-5D4F-277CA4383CB2}"/>
          </ac:spMkLst>
        </pc:spChg>
        <pc:spChg chg="mod">
          <ac:chgData name="Tobias Brammer" userId="80a1e1bd-3b82-47a5-b259-da62a397db92" providerId="ADAL" clId="{CC804E0E-B381-4A8C-832B-11046074747A}" dt="2023-09-27T11:37:48.493" v="11060" actId="20577"/>
          <ac:spMkLst>
            <pc:docMk/>
            <pc:sldMk cId="1357849748" sldId="320"/>
            <ac:spMk id="5" creationId="{0256447C-D35F-4F86-D90B-E90F6B46AE7F}"/>
          </ac:spMkLst>
        </pc:spChg>
        <pc:spChg chg="del">
          <ac:chgData name="Tobias Brammer" userId="80a1e1bd-3b82-47a5-b259-da62a397db92" providerId="ADAL" clId="{CC804E0E-B381-4A8C-832B-11046074747A}" dt="2023-09-27T08:09:27.361" v="4883" actId="478"/>
          <ac:spMkLst>
            <pc:docMk/>
            <pc:sldMk cId="1357849748" sldId="320"/>
            <ac:spMk id="6" creationId="{8FC4456C-8838-4F8B-8B1E-95CBD5B2E38B}"/>
          </ac:spMkLst>
        </pc:spChg>
        <pc:spChg chg="add del mod">
          <ac:chgData name="Tobias Brammer" userId="80a1e1bd-3b82-47a5-b259-da62a397db92" providerId="ADAL" clId="{CC804E0E-B381-4A8C-832B-11046074747A}" dt="2023-09-27T08:09:44.842" v="4885" actId="478"/>
          <ac:spMkLst>
            <pc:docMk/>
            <pc:sldMk cId="1357849748" sldId="320"/>
            <ac:spMk id="8" creationId="{497941BD-CE9B-2966-E6CD-598BB18D6C16}"/>
          </ac:spMkLst>
        </pc:spChg>
        <pc:spChg chg="add mod">
          <ac:chgData name="Tobias Brammer" userId="80a1e1bd-3b82-47a5-b259-da62a397db92" providerId="ADAL" clId="{CC804E0E-B381-4A8C-832B-11046074747A}" dt="2023-09-27T08:10:01.135" v="4905" actId="948"/>
          <ac:spMkLst>
            <pc:docMk/>
            <pc:sldMk cId="1357849748" sldId="320"/>
            <ac:spMk id="10" creationId="{AF9B0DCC-E14E-05AE-4D33-CE315A7426D6}"/>
          </ac:spMkLst>
        </pc:spChg>
        <pc:spChg chg="add del">
          <ac:chgData name="Tobias Brammer" userId="80a1e1bd-3b82-47a5-b259-da62a397db92" providerId="ADAL" clId="{CC804E0E-B381-4A8C-832B-11046074747A}" dt="2023-09-27T08:17:07.795" v="6027" actId="22"/>
          <ac:spMkLst>
            <pc:docMk/>
            <pc:sldMk cId="1357849748" sldId="320"/>
            <ac:spMk id="12" creationId="{C98DE494-0337-F053-1BE3-0884F7B0C287}"/>
          </ac:spMkLst>
        </pc:spChg>
        <pc:graphicFrameChg chg="mod">
          <ac:chgData name="Tobias Brammer" userId="80a1e1bd-3b82-47a5-b259-da62a397db92" providerId="ADAL" clId="{CC804E0E-B381-4A8C-832B-11046074747A}" dt="2023-09-27T08:10:01.145" v="4909"/>
          <ac:graphicFrameMkLst>
            <pc:docMk/>
            <pc:sldMk cId="1357849748" sldId="320"/>
            <ac:graphicFrameMk id="4" creationId="{79C05AFC-9555-D40C-AD9D-3E13BD0A4FC2}"/>
          </ac:graphicFrameMkLst>
        </pc:graphicFrameChg>
      </pc:sldChg>
      <pc:sldChg chg="addSp delSp modSp add mod ord">
        <pc:chgData name="Tobias Brammer" userId="80a1e1bd-3b82-47a5-b259-da62a397db92" providerId="ADAL" clId="{CC804E0E-B381-4A8C-832B-11046074747A}" dt="2023-09-27T09:34:52.525" v="9370" actId="404"/>
        <pc:sldMkLst>
          <pc:docMk/>
          <pc:sldMk cId="1578015824" sldId="321"/>
        </pc:sldMkLst>
        <pc:spChg chg="mod">
          <ac:chgData name="Tobias Brammer" userId="80a1e1bd-3b82-47a5-b259-da62a397db92" providerId="ADAL" clId="{CC804E0E-B381-4A8C-832B-11046074747A}" dt="2023-09-27T07:49:56.699" v="2125" actId="948"/>
          <ac:spMkLst>
            <pc:docMk/>
            <pc:sldMk cId="1578015824" sldId="321"/>
            <ac:spMk id="2" creationId="{F7A7B11F-5560-4450-B29C-AA36EE47DBD5}"/>
          </ac:spMkLst>
        </pc:spChg>
        <pc:spChg chg="del mod">
          <ac:chgData name="Tobias Brammer" userId="80a1e1bd-3b82-47a5-b259-da62a397db92" providerId="ADAL" clId="{CC804E0E-B381-4A8C-832B-11046074747A}" dt="2023-09-27T09:26:49.961" v="8689" actId="478"/>
          <ac:spMkLst>
            <pc:docMk/>
            <pc:sldMk cId="1578015824" sldId="321"/>
            <ac:spMk id="6" creationId="{8FC4456C-8838-4F8B-8B1E-95CBD5B2E38B}"/>
          </ac:spMkLst>
        </pc:spChg>
        <pc:spChg chg="add del mod">
          <ac:chgData name="Tobias Brammer" userId="80a1e1bd-3b82-47a5-b259-da62a397db92" providerId="ADAL" clId="{CC804E0E-B381-4A8C-832B-11046074747A}" dt="2023-09-27T09:26:54.480" v="8691" actId="478"/>
          <ac:spMkLst>
            <pc:docMk/>
            <pc:sldMk cId="1578015824" sldId="321"/>
            <ac:spMk id="13" creationId="{CB10C27B-A6D7-33F5-C87F-BB9FEDDC9CB3}"/>
          </ac:spMkLst>
        </pc:spChg>
        <pc:spChg chg="add del mod">
          <ac:chgData name="Tobias Brammer" userId="80a1e1bd-3b82-47a5-b259-da62a397db92" providerId="ADAL" clId="{CC804E0E-B381-4A8C-832B-11046074747A}" dt="2023-09-27T09:28:24.113" v="8708"/>
          <ac:spMkLst>
            <pc:docMk/>
            <pc:sldMk cId="1578015824" sldId="321"/>
            <ac:spMk id="14" creationId="{DC353ED6-7823-01A1-65F4-712C3EBB52B4}"/>
          </ac:spMkLst>
        </pc:spChg>
        <pc:spChg chg="add mod">
          <ac:chgData name="Tobias Brammer" userId="80a1e1bd-3b82-47a5-b259-da62a397db92" providerId="ADAL" clId="{CC804E0E-B381-4A8C-832B-11046074747A}" dt="2023-09-27T09:34:52.525" v="9370" actId="404"/>
          <ac:spMkLst>
            <pc:docMk/>
            <pc:sldMk cId="1578015824" sldId="321"/>
            <ac:spMk id="15" creationId="{7D65E0FF-8C35-EF72-D70A-B1F4A543BBB0}"/>
          </ac:spMkLst>
        </pc:spChg>
        <pc:grpChg chg="del">
          <ac:chgData name="Tobias Brammer" userId="80a1e1bd-3b82-47a5-b259-da62a397db92" providerId="ADAL" clId="{CC804E0E-B381-4A8C-832B-11046074747A}" dt="2023-09-27T09:23:20.849" v="8670" actId="478"/>
          <ac:grpSpMkLst>
            <pc:docMk/>
            <pc:sldMk cId="1578015824" sldId="321"/>
            <ac:grpSpMk id="23" creationId="{38285DF7-26A5-0B52-5D8A-45F17BF22272}"/>
          </ac:grpSpMkLst>
        </pc:grpChg>
        <pc:graphicFrameChg chg="mod">
          <ac:chgData name="Tobias Brammer" userId="80a1e1bd-3b82-47a5-b259-da62a397db92" providerId="ADAL" clId="{CC804E0E-B381-4A8C-832B-11046074747A}" dt="2023-09-27T07:49:56.699" v="2129"/>
          <ac:graphicFrameMkLst>
            <pc:docMk/>
            <pc:sldMk cId="1578015824" sldId="321"/>
            <ac:graphicFrameMk id="4" creationId="{79C05AFC-9555-D40C-AD9D-3E13BD0A4FC2}"/>
          </ac:graphicFrameMkLst>
        </pc:graphicFrameChg>
        <pc:picChg chg="add mod">
          <ac:chgData name="Tobias Brammer" userId="80a1e1bd-3b82-47a5-b259-da62a397db92" providerId="ADAL" clId="{CC804E0E-B381-4A8C-832B-11046074747A}" dt="2023-09-27T09:31:10.167" v="8875" actId="1076"/>
          <ac:picMkLst>
            <pc:docMk/>
            <pc:sldMk cId="1578015824" sldId="321"/>
            <ac:picMk id="5" creationId="{49FEF599-4481-3F8B-4151-51CFB1C73A1D}"/>
          </ac:picMkLst>
        </pc:picChg>
        <pc:picChg chg="add mod">
          <ac:chgData name="Tobias Brammer" userId="80a1e1bd-3b82-47a5-b259-da62a397db92" providerId="ADAL" clId="{CC804E0E-B381-4A8C-832B-11046074747A}" dt="2023-09-27T09:30:47.716" v="8872" actId="1076"/>
          <ac:picMkLst>
            <pc:docMk/>
            <pc:sldMk cId="1578015824" sldId="321"/>
            <ac:picMk id="8" creationId="{7AC3476A-B839-CB17-91E2-ACF997C5763B}"/>
          </ac:picMkLst>
        </pc:picChg>
        <pc:picChg chg="add mod">
          <ac:chgData name="Tobias Brammer" userId="80a1e1bd-3b82-47a5-b259-da62a397db92" providerId="ADAL" clId="{CC804E0E-B381-4A8C-832B-11046074747A}" dt="2023-09-27T09:30:51.291" v="8873" actId="1076"/>
          <ac:picMkLst>
            <pc:docMk/>
            <pc:sldMk cId="1578015824" sldId="321"/>
            <ac:picMk id="11" creationId="{BD1D84C1-6A33-A37C-5477-C4E523C619A0}"/>
          </ac:picMkLst>
        </pc:picChg>
      </pc:sldChg>
      <pc:sldChg chg="addSp delSp modSp add del mod">
        <pc:chgData name="Tobias Brammer" userId="80a1e1bd-3b82-47a5-b259-da62a397db92" providerId="ADAL" clId="{CC804E0E-B381-4A8C-832B-11046074747A}" dt="2023-09-27T09:36:10.162" v="9422" actId="47"/>
        <pc:sldMkLst>
          <pc:docMk/>
          <pc:sldMk cId="1958460576" sldId="322"/>
        </pc:sldMkLst>
        <pc:spChg chg="mod">
          <ac:chgData name="Tobias Brammer" userId="80a1e1bd-3b82-47a5-b259-da62a397db92" providerId="ADAL" clId="{CC804E0E-B381-4A8C-832B-11046074747A}" dt="2023-09-27T07:49:43.087" v="2059" actId="948"/>
          <ac:spMkLst>
            <pc:docMk/>
            <pc:sldMk cId="1958460576" sldId="322"/>
            <ac:spMk id="2" creationId="{2BD5074D-D1F9-B9F7-DACD-88F097B4D5CD}"/>
          </ac:spMkLst>
        </pc:spChg>
        <pc:spChg chg="add del mod modVis">
          <ac:chgData name="Tobias Brammer" userId="80a1e1bd-3b82-47a5-b259-da62a397db92" providerId="ADAL" clId="{CC804E0E-B381-4A8C-832B-11046074747A}" dt="2023-09-27T07:49:42.180" v="2053"/>
          <ac:spMkLst>
            <pc:docMk/>
            <pc:sldMk cId="1958460576" sldId="322"/>
            <ac:spMk id="3" creationId="{557CBCD7-6A86-F68B-9C64-2359AEBD6685}"/>
          </ac:spMkLst>
        </pc:spChg>
        <pc:spChg chg="add del mod modVis">
          <ac:chgData name="Tobias Brammer" userId="80a1e1bd-3b82-47a5-b259-da62a397db92" providerId="ADAL" clId="{CC804E0E-B381-4A8C-832B-11046074747A}" dt="2023-09-27T07:49:43.119" v="2100"/>
          <ac:spMkLst>
            <pc:docMk/>
            <pc:sldMk cId="1958460576" sldId="322"/>
            <ac:spMk id="5" creationId="{AD427474-9F64-FF3C-6F52-71F93A234899}"/>
          </ac:spMkLst>
        </pc:spChg>
        <pc:graphicFrameChg chg="mod">
          <ac:chgData name="Tobias Brammer" userId="80a1e1bd-3b82-47a5-b259-da62a397db92" providerId="ADAL" clId="{CC804E0E-B381-4A8C-832B-11046074747A}" dt="2023-09-27T07:49:43.119" v="2102"/>
          <ac:graphicFrameMkLst>
            <pc:docMk/>
            <pc:sldMk cId="1958460576" sldId="322"/>
            <ac:graphicFrameMk id="4" creationId="{DA4F5744-822E-272D-9EB9-E4CFFB864E67}"/>
          </ac:graphicFrameMkLst>
        </pc:graphicFrameChg>
      </pc:sldChg>
      <pc:sldChg chg="addSp delSp modSp add mod ord">
        <pc:chgData name="Tobias Brammer" userId="80a1e1bd-3b82-47a5-b259-da62a397db92" providerId="ADAL" clId="{CC804E0E-B381-4A8C-832B-11046074747A}" dt="2023-09-27T11:43:24.858" v="11066" actId="1076"/>
        <pc:sldMkLst>
          <pc:docMk/>
          <pc:sldMk cId="2844577089" sldId="323"/>
        </pc:sldMkLst>
        <pc:spChg chg="mod">
          <ac:chgData name="Tobias Brammer" userId="80a1e1bd-3b82-47a5-b259-da62a397db92" providerId="ADAL" clId="{CC804E0E-B381-4A8C-832B-11046074747A}" dt="2023-09-27T11:33:37.295" v="10886" actId="14100"/>
          <ac:spMkLst>
            <pc:docMk/>
            <pc:sldMk cId="2844577089" sldId="323"/>
            <ac:spMk id="5" creationId="{0256447C-D35F-4F86-D90B-E90F6B46AE7F}"/>
          </ac:spMkLst>
        </pc:spChg>
        <pc:spChg chg="add mod">
          <ac:chgData name="Tobias Brammer" userId="80a1e1bd-3b82-47a5-b259-da62a397db92" providerId="ADAL" clId="{CC804E0E-B381-4A8C-832B-11046074747A}" dt="2023-09-27T11:36:12.939" v="10948" actId="164"/>
          <ac:spMkLst>
            <pc:docMk/>
            <pc:sldMk cId="2844577089" sldId="323"/>
            <ac:spMk id="6" creationId="{261461FB-83E0-5FDD-9BE1-F7256B11117D}"/>
          </ac:spMkLst>
        </pc:spChg>
        <pc:spChg chg="add mod">
          <ac:chgData name="Tobias Brammer" userId="80a1e1bd-3b82-47a5-b259-da62a397db92" providerId="ADAL" clId="{CC804E0E-B381-4A8C-832B-11046074747A}" dt="2023-09-27T11:36:12.939" v="10948" actId="164"/>
          <ac:spMkLst>
            <pc:docMk/>
            <pc:sldMk cId="2844577089" sldId="323"/>
            <ac:spMk id="7" creationId="{D915A7C8-18E7-9F6D-69FA-5F58CBF61B2C}"/>
          </ac:spMkLst>
        </pc:spChg>
        <pc:spChg chg="add mod">
          <ac:chgData name="Tobias Brammer" userId="80a1e1bd-3b82-47a5-b259-da62a397db92" providerId="ADAL" clId="{CC804E0E-B381-4A8C-832B-11046074747A}" dt="2023-09-27T11:36:12.939" v="10948" actId="164"/>
          <ac:spMkLst>
            <pc:docMk/>
            <pc:sldMk cId="2844577089" sldId="323"/>
            <ac:spMk id="8" creationId="{A720C645-AD8A-B352-6BA6-FE694E0BB373}"/>
          </ac:spMkLst>
        </pc:spChg>
        <pc:spChg chg="add del mod">
          <ac:chgData name="Tobias Brammer" userId="80a1e1bd-3b82-47a5-b259-da62a397db92" providerId="ADAL" clId="{CC804E0E-B381-4A8C-832B-11046074747A}" dt="2023-09-27T11:34:32.227" v="10898" actId="767"/>
          <ac:spMkLst>
            <pc:docMk/>
            <pc:sldMk cId="2844577089" sldId="323"/>
            <ac:spMk id="9" creationId="{1685A144-A8FF-455D-9A24-1B6E3EFE99E3}"/>
          </ac:spMkLst>
        </pc:spChg>
        <pc:spChg chg="add mod">
          <ac:chgData name="Tobias Brammer" userId="80a1e1bd-3b82-47a5-b259-da62a397db92" providerId="ADAL" clId="{CC804E0E-B381-4A8C-832B-11046074747A}" dt="2023-09-27T11:36:12.939" v="10948" actId="164"/>
          <ac:spMkLst>
            <pc:docMk/>
            <pc:sldMk cId="2844577089" sldId="323"/>
            <ac:spMk id="11" creationId="{79660714-93A2-B1F1-FCAB-EB279243CD5B}"/>
          </ac:spMkLst>
        </pc:spChg>
        <pc:spChg chg="add mod">
          <ac:chgData name="Tobias Brammer" userId="80a1e1bd-3b82-47a5-b259-da62a397db92" providerId="ADAL" clId="{CC804E0E-B381-4A8C-832B-11046074747A}" dt="2023-09-27T11:36:12.939" v="10948" actId="164"/>
          <ac:spMkLst>
            <pc:docMk/>
            <pc:sldMk cId="2844577089" sldId="323"/>
            <ac:spMk id="12" creationId="{E3675E47-C60A-2475-BA97-E695998FCECC}"/>
          </ac:spMkLst>
        </pc:spChg>
        <pc:spChg chg="add mod">
          <ac:chgData name="Tobias Brammer" userId="80a1e1bd-3b82-47a5-b259-da62a397db92" providerId="ADAL" clId="{CC804E0E-B381-4A8C-832B-11046074747A}" dt="2023-09-27T11:36:12.939" v="10948" actId="164"/>
          <ac:spMkLst>
            <pc:docMk/>
            <pc:sldMk cId="2844577089" sldId="323"/>
            <ac:spMk id="13" creationId="{175DD20F-30CF-FCCE-1FC6-119D285E9E68}"/>
          </ac:spMkLst>
        </pc:spChg>
        <pc:grpChg chg="add mod">
          <ac:chgData name="Tobias Brammer" userId="80a1e1bd-3b82-47a5-b259-da62a397db92" providerId="ADAL" clId="{CC804E0E-B381-4A8C-832B-11046074747A}" dt="2023-09-27T11:35:56.741" v="10947" actId="164"/>
          <ac:grpSpMkLst>
            <pc:docMk/>
            <pc:sldMk cId="2844577089" sldId="323"/>
            <ac:grpSpMk id="14" creationId="{4994A470-4E84-3944-3C70-3D0A0D9EDD93}"/>
          </ac:grpSpMkLst>
        </pc:grpChg>
        <pc:grpChg chg="add del mod">
          <ac:chgData name="Tobias Brammer" userId="80a1e1bd-3b82-47a5-b259-da62a397db92" providerId="ADAL" clId="{CC804E0E-B381-4A8C-832B-11046074747A}" dt="2023-09-27T11:43:13.972" v="11063" actId="478"/>
          <ac:grpSpMkLst>
            <pc:docMk/>
            <pc:sldMk cId="2844577089" sldId="323"/>
            <ac:grpSpMk id="15" creationId="{16B5AE6B-514F-F6EB-5470-81E911F7A14A}"/>
          </ac:grpSpMkLst>
        </pc:grpChg>
        <pc:picChg chg="add mod">
          <ac:chgData name="Tobias Brammer" userId="80a1e1bd-3b82-47a5-b259-da62a397db92" providerId="ADAL" clId="{CC804E0E-B381-4A8C-832B-11046074747A}" dt="2023-09-27T11:36:12.939" v="10948" actId="164"/>
          <ac:picMkLst>
            <pc:docMk/>
            <pc:sldMk cId="2844577089" sldId="323"/>
            <ac:picMk id="3" creationId="{1B0F57D6-9FD0-4BE2-EC77-46F55C10907D}"/>
          </ac:picMkLst>
        </pc:picChg>
        <pc:picChg chg="add mod">
          <ac:chgData name="Tobias Brammer" userId="80a1e1bd-3b82-47a5-b259-da62a397db92" providerId="ADAL" clId="{CC804E0E-B381-4A8C-832B-11046074747A}" dt="2023-09-27T11:43:24.858" v="11066" actId="1076"/>
          <ac:picMkLst>
            <pc:docMk/>
            <pc:sldMk cId="2844577089" sldId="323"/>
            <ac:picMk id="9" creationId="{E15673A4-9DF1-0497-61E6-DB151E491FFE}"/>
          </ac:picMkLst>
        </pc:picChg>
      </pc:sldChg>
      <pc:sldChg chg="modSp add mod">
        <pc:chgData name="Tobias Brammer" userId="80a1e1bd-3b82-47a5-b259-da62a397db92" providerId="ADAL" clId="{CC804E0E-B381-4A8C-832B-11046074747A}" dt="2023-09-28T09:01:32.348" v="11856" actId="20577"/>
        <pc:sldMkLst>
          <pc:docMk/>
          <pc:sldMk cId="3780667075" sldId="324"/>
        </pc:sldMkLst>
        <pc:spChg chg="mod">
          <ac:chgData name="Tobias Brammer" userId="80a1e1bd-3b82-47a5-b259-da62a397db92" providerId="ADAL" clId="{CC804E0E-B381-4A8C-832B-11046074747A}" dt="2023-09-28T09:01:32.348" v="11856" actId="20577"/>
          <ac:spMkLst>
            <pc:docMk/>
            <pc:sldMk cId="3780667075" sldId="324"/>
            <ac:spMk id="10" creationId="{6123F9E9-4EDA-8639-0B90-4D3A855C3D7A}"/>
          </ac:spMkLst>
        </pc:spChg>
      </pc:sldChg>
      <pc:sldChg chg="modSp add mod modNotesTx">
        <pc:chgData name="Tobias Brammer" userId="80a1e1bd-3b82-47a5-b259-da62a397db92" providerId="ADAL" clId="{CC804E0E-B381-4A8C-832B-11046074747A}" dt="2023-09-28T06:32:00.714" v="11072" actId="20577"/>
        <pc:sldMkLst>
          <pc:docMk/>
          <pc:sldMk cId="2214565963" sldId="325"/>
        </pc:sldMkLst>
        <pc:spChg chg="mod">
          <ac:chgData name="Tobias Brammer" userId="80a1e1bd-3b82-47a5-b259-da62a397db92" providerId="ADAL" clId="{CC804E0E-B381-4A8C-832B-11046074747A}" dt="2023-09-28T06:32:00.714" v="11072" actId="20577"/>
          <ac:spMkLst>
            <pc:docMk/>
            <pc:sldMk cId="2214565963" sldId="325"/>
            <ac:spMk id="10" creationId="{6123F9E9-4EDA-8639-0B90-4D3A855C3D7A}"/>
          </ac:spMkLst>
        </pc:spChg>
      </pc:sldChg>
      <pc:sldChg chg="addSp delSp modSp add mod">
        <pc:chgData name="Tobias Brammer" userId="80a1e1bd-3b82-47a5-b259-da62a397db92" providerId="ADAL" clId="{CC804E0E-B381-4A8C-832B-11046074747A}" dt="2023-09-27T09:40:49.649" v="10188" actId="20577"/>
        <pc:sldMkLst>
          <pc:docMk/>
          <pc:sldMk cId="3972108527" sldId="326"/>
        </pc:sldMkLst>
        <pc:spChg chg="mod">
          <ac:chgData name="Tobias Brammer" userId="80a1e1bd-3b82-47a5-b259-da62a397db92" providerId="ADAL" clId="{CC804E0E-B381-4A8C-832B-11046074747A}" dt="2023-09-27T09:36:17.784" v="9505" actId="948"/>
          <ac:spMkLst>
            <pc:docMk/>
            <pc:sldMk cId="3972108527" sldId="326"/>
            <ac:spMk id="2" creationId="{F7A7B11F-5560-4450-B29C-AA36EE47DBD5}"/>
          </ac:spMkLst>
        </pc:spChg>
        <pc:spChg chg="add del mod modVis">
          <ac:chgData name="Tobias Brammer" userId="80a1e1bd-3b82-47a5-b259-da62a397db92" providerId="ADAL" clId="{CC804E0E-B381-4A8C-832B-11046074747A}" dt="2023-09-27T09:36:16.061" v="9492"/>
          <ac:spMkLst>
            <pc:docMk/>
            <pc:sldMk cId="3972108527" sldId="326"/>
            <ac:spMk id="3" creationId="{20B2059E-E4F9-AC6D-0D18-CBDA3FA36DEB}"/>
          </ac:spMkLst>
        </pc:spChg>
        <pc:spChg chg="add del mod modVis">
          <ac:chgData name="Tobias Brammer" userId="80a1e1bd-3b82-47a5-b259-da62a397db92" providerId="ADAL" clId="{CC804E0E-B381-4A8C-832B-11046074747A}" dt="2023-09-27T09:36:17.800" v="9546"/>
          <ac:spMkLst>
            <pc:docMk/>
            <pc:sldMk cId="3972108527" sldId="326"/>
            <ac:spMk id="5" creationId="{9819A439-6EB8-2CA6-6687-A469639B2965}"/>
          </ac:spMkLst>
        </pc:spChg>
        <pc:spChg chg="mod">
          <ac:chgData name="Tobias Brammer" userId="80a1e1bd-3b82-47a5-b259-da62a397db92" providerId="ADAL" clId="{CC804E0E-B381-4A8C-832B-11046074747A}" dt="2023-09-27T09:40:49.649" v="10188" actId="20577"/>
          <ac:spMkLst>
            <pc:docMk/>
            <pc:sldMk cId="3972108527" sldId="326"/>
            <ac:spMk id="7" creationId="{DEC53627-8BE2-118B-148A-8A775CEDD3D3}"/>
          </ac:spMkLst>
        </pc:spChg>
        <pc:graphicFrameChg chg="mod">
          <ac:chgData name="Tobias Brammer" userId="80a1e1bd-3b82-47a5-b259-da62a397db92" providerId="ADAL" clId="{CC804E0E-B381-4A8C-832B-11046074747A}" dt="2023-09-27T09:36:17.815" v="9548"/>
          <ac:graphicFrameMkLst>
            <pc:docMk/>
            <pc:sldMk cId="3972108527" sldId="326"/>
            <ac:graphicFrameMk id="4" creationId="{79C05AFC-9555-D40C-AD9D-3E13BD0A4FC2}"/>
          </ac:graphicFrameMkLst>
        </pc:graphicFrameChg>
      </pc:sldChg>
      <pc:sldChg chg="modSp add mod">
        <pc:chgData name="Tobias Brammer" userId="80a1e1bd-3b82-47a5-b259-da62a397db92" providerId="ADAL" clId="{CC804E0E-B381-4A8C-832B-11046074747A}" dt="2023-09-28T08:48:38.766" v="11847" actId="404"/>
        <pc:sldMkLst>
          <pc:docMk/>
          <pc:sldMk cId="762254632" sldId="327"/>
        </pc:sldMkLst>
        <pc:spChg chg="mod">
          <ac:chgData name="Tobias Brammer" userId="80a1e1bd-3b82-47a5-b259-da62a397db92" providerId="ADAL" clId="{CC804E0E-B381-4A8C-832B-11046074747A}" dt="2023-09-28T08:48:38.766" v="11847" actId="404"/>
          <ac:spMkLst>
            <pc:docMk/>
            <pc:sldMk cId="762254632" sldId="327"/>
            <ac:spMk id="5" creationId="{0256447C-D35F-4F86-D90B-E90F6B46AE7F}"/>
          </ac:spMkLst>
        </pc:spChg>
      </pc:sldChg>
      <pc:sldChg chg="modSp add mod">
        <pc:chgData name="Tobias Brammer" userId="80a1e1bd-3b82-47a5-b259-da62a397db92" providerId="ADAL" clId="{CC804E0E-B381-4A8C-832B-11046074747A}" dt="2023-09-29T12:15:28.061" v="11875" actId="20577"/>
        <pc:sldMkLst>
          <pc:docMk/>
          <pc:sldMk cId="3444026750" sldId="328"/>
        </pc:sldMkLst>
        <pc:spChg chg="mod">
          <ac:chgData name="Tobias Brammer" userId="80a1e1bd-3b82-47a5-b259-da62a397db92" providerId="ADAL" clId="{CC804E0E-B381-4A8C-832B-11046074747A}" dt="2023-09-29T12:15:28.061" v="11875" actId="20577"/>
          <ac:spMkLst>
            <pc:docMk/>
            <pc:sldMk cId="3444026750" sldId="328"/>
            <ac:spMk id="10" creationId="{6123F9E9-4EDA-8639-0B90-4D3A855C3D7A}"/>
          </ac:spMkLst>
        </pc:spChg>
      </pc:sldChg>
      <pc:sldMasterChg chg="addSp delSp modSp mod modSldLayout">
        <pc:chgData name="Tobias Brammer" userId="80a1e1bd-3b82-47a5-b259-da62a397db92" providerId="ADAL" clId="{CC804E0E-B381-4A8C-832B-11046074747A}" dt="2023-09-27T07:39:03.687" v="1617"/>
        <pc:sldMasterMkLst>
          <pc:docMk/>
          <pc:sldMasterMk cId="408341288" sldId="2147483648"/>
        </pc:sldMasterMkLst>
        <pc:spChg chg="mod">
          <ac:chgData name="Tobias Brammer" userId="80a1e1bd-3b82-47a5-b259-da62a397db92" providerId="ADAL" clId="{CC804E0E-B381-4A8C-832B-11046074747A}" dt="2023-09-27T07:39:02.972" v="616" actId="948"/>
          <ac:spMkLst>
            <pc:docMk/>
            <pc:sldMasterMk cId="408341288" sldId="2147483648"/>
            <ac:spMk id="2" creationId="{00000000-0000-0000-0000-000000000000}"/>
          </ac:spMkLst>
        </pc:spChg>
        <pc:spChg chg="mod">
          <ac:chgData name="Tobias Brammer" userId="80a1e1bd-3b82-47a5-b259-da62a397db92" providerId="ADAL" clId="{CC804E0E-B381-4A8C-832B-11046074747A}" dt="2023-09-27T07:39:01.709" v="425" actId="790"/>
          <ac:spMkLst>
            <pc:docMk/>
            <pc:sldMasterMk cId="408341288" sldId="2147483648"/>
            <ac:spMk id="3" creationId="{00000000-0000-0000-0000-000000000000}"/>
          </ac:spMkLst>
        </pc:spChg>
        <pc:spChg chg="add del mod modVis">
          <ac:chgData name="Tobias Brammer" userId="80a1e1bd-3b82-47a5-b259-da62a397db92" providerId="ADAL" clId="{CC804E0E-B381-4A8C-832B-11046074747A}" dt="2023-09-27T07:39:03.615" v="1533"/>
          <ac:spMkLst>
            <pc:docMk/>
            <pc:sldMasterMk cId="408341288" sldId="2147483648"/>
            <ac:spMk id="4" creationId="{B5677198-5BC8-C7DD-8B7D-649876407A73}"/>
          </ac:spMkLst>
        </pc:spChg>
        <pc:spChg chg="mod">
          <ac:chgData name="Tobias Brammer" userId="80a1e1bd-3b82-47a5-b259-da62a397db92" providerId="ADAL" clId="{CC804E0E-B381-4A8C-832B-11046074747A}" dt="2023-09-27T07:39:01.709" v="426" actId="790"/>
          <ac:spMkLst>
            <pc:docMk/>
            <pc:sldMasterMk cId="408341288" sldId="2147483648"/>
            <ac:spMk id="6" creationId="{00000000-0000-0000-0000-000000000000}"/>
          </ac:spMkLst>
        </pc:spChg>
        <pc:spChg chg="mod">
          <ac:chgData name="Tobias Brammer" userId="80a1e1bd-3b82-47a5-b259-da62a397db92" providerId="ADAL" clId="{CC804E0E-B381-4A8C-832B-11046074747A}" dt="2023-09-27T07:39:01.709" v="428" actId="947"/>
          <ac:spMkLst>
            <pc:docMk/>
            <pc:sldMasterMk cId="408341288" sldId="2147483648"/>
            <ac:spMk id="16" creationId="{41CBECE6-4121-4040-93C2-1D43AFE5C05D}"/>
          </ac:spMkLst>
        </pc:spChg>
        <pc:graphicFrameChg chg="mod">
          <ac:chgData name="Tobias Brammer" userId="80a1e1bd-3b82-47a5-b259-da62a397db92" providerId="ADAL" clId="{CC804E0E-B381-4A8C-832B-11046074747A}" dt="2023-09-27T07:39:03.615" v="1535"/>
          <ac:graphicFrameMkLst>
            <pc:docMk/>
            <pc:sldMasterMk cId="408341288" sldId="2147483648"/>
            <ac:graphicFrameMk id="5" creationId="{DDE25FA5-E514-CFB8-9A3C-3E423FEA643B}"/>
          </ac:graphicFrameMkLst>
        </pc:graphicFrameChg>
        <pc:sldLayoutChg chg="addSp delSp modSp mod">
          <pc:chgData name="Tobias Brammer" userId="80a1e1bd-3b82-47a5-b259-da62a397db92" providerId="ADAL" clId="{CC804E0E-B381-4A8C-832B-11046074747A}" dt="2023-09-27T07:39:03.630" v="1567"/>
          <pc:sldLayoutMkLst>
            <pc:docMk/>
            <pc:sldMasterMk cId="408341288" sldId="2147483648"/>
            <pc:sldLayoutMk cId="1576694700" sldId="2147483650"/>
          </pc:sldLayoutMkLst>
          <pc:spChg chg="mod">
            <ac:chgData name="Tobias Brammer" userId="80a1e1bd-3b82-47a5-b259-da62a397db92" providerId="ADAL" clId="{CC804E0E-B381-4A8C-832B-11046074747A}" dt="2023-09-27T07:39:03.176" v="920" actId="948"/>
            <ac:spMkLst>
              <pc:docMk/>
              <pc:sldMasterMk cId="408341288" sldId="2147483648"/>
              <pc:sldLayoutMk cId="1576694700" sldId="2147483650"/>
              <ac:spMk id="2" creationId="{00000000-0000-0000-0000-000000000000}"/>
            </ac:spMkLst>
          </pc:spChg>
          <pc:spChg chg="add del mod modVis">
            <ac:chgData name="Tobias Brammer" userId="80a1e1bd-3b82-47a5-b259-da62a397db92" providerId="ADAL" clId="{CC804E0E-B381-4A8C-832B-11046074747A}" dt="2023-09-27T07:39:03.630" v="1565"/>
            <ac:spMkLst>
              <pc:docMk/>
              <pc:sldMasterMk cId="408341288" sldId="2147483648"/>
              <pc:sldLayoutMk cId="1576694700" sldId="2147483650"/>
              <ac:spMk id="3" creationId="{8700630A-7B4D-D652-F371-CF7353F1514B}"/>
            </ac:spMkLst>
          </pc:spChg>
          <pc:spChg chg="mod">
            <ac:chgData name="Tobias Brammer" userId="80a1e1bd-3b82-47a5-b259-da62a397db92" providerId="ADAL" clId="{CC804E0E-B381-4A8C-832B-11046074747A}" dt="2023-09-27T07:39:01.910" v="477"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CC804E0E-B381-4A8C-832B-11046074747A}" dt="2023-09-27T07:39:01.910" v="478" actId="790"/>
            <ac:spMkLst>
              <pc:docMk/>
              <pc:sldMasterMk cId="408341288" sldId="2147483648"/>
              <pc:sldLayoutMk cId="1576694700" sldId="2147483650"/>
              <ac:spMk id="10" creationId="{CD368082-6B4C-4E17-B467-EDE690A0632A}"/>
            </ac:spMkLst>
          </pc:spChg>
          <pc:graphicFrameChg chg="mod">
            <ac:chgData name="Tobias Brammer" userId="80a1e1bd-3b82-47a5-b259-da62a397db92" providerId="ADAL" clId="{CC804E0E-B381-4A8C-832B-11046074747A}" dt="2023-09-27T07:39:03.630" v="1567"/>
            <ac:graphicFrameMkLst>
              <pc:docMk/>
              <pc:sldMasterMk cId="408341288" sldId="2147483648"/>
              <pc:sldLayoutMk cId="1576694700" sldId="2147483650"/>
              <ac:graphicFrameMk id="4" creationId="{1B7D2480-7036-710B-1778-3F9B8F54412B}"/>
            </ac:graphicFrameMkLst>
          </pc:graphicFrameChg>
        </pc:sldLayoutChg>
        <pc:sldLayoutChg chg="addSp delSp modSp mod">
          <pc:chgData name="Tobias Brammer" userId="80a1e1bd-3b82-47a5-b259-da62a397db92" providerId="ADAL" clId="{CC804E0E-B381-4A8C-832B-11046074747A}" dt="2023-09-27T07:39:03.687" v="1615"/>
          <pc:sldLayoutMkLst>
            <pc:docMk/>
            <pc:sldMasterMk cId="408341288" sldId="2147483648"/>
            <pc:sldLayoutMk cId="799966409" sldId="2147483654"/>
          </pc:sldLayoutMkLst>
          <pc:spChg chg="mod">
            <ac:chgData name="Tobias Brammer" userId="80a1e1bd-3b82-47a5-b259-da62a397db92" providerId="ADAL" clId="{CC804E0E-B381-4A8C-832B-11046074747A}" dt="2023-09-27T07:39:03.477" v="1338" actId="948"/>
            <ac:spMkLst>
              <pc:docMk/>
              <pc:sldMasterMk cId="408341288" sldId="2147483648"/>
              <pc:sldLayoutMk cId="799966409" sldId="2147483654"/>
              <ac:spMk id="2" creationId="{00000000-0000-0000-0000-000000000000}"/>
            </ac:spMkLst>
          </pc:spChg>
          <pc:spChg chg="add del mod modVis">
            <ac:chgData name="Tobias Brammer" userId="80a1e1bd-3b82-47a5-b259-da62a397db92" providerId="ADAL" clId="{CC804E0E-B381-4A8C-832B-11046074747A}" dt="2023-09-27T07:39:03.672" v="1613"/>
            <ac:spMkLst>
              <pc:docMk/>
              <pc:sldMasterMk cId="408341288" sldId="2147483648"/>
              <pc:sldLayoutMk cId="799966409" sldId="2147483654"/>
              <ac:spMk id="3" creationId="{3A47640A-60FA-302F-8D66-4D3B1DBC9696}"/>
            </ac:spMkLst>
          </pc:spChg>
          <pc:spChg chg="mod">
            <ac:chgData name="Tobias Brammer" userId="80a1e1bd-3b82-47a5-b259-da62a397db92" providerId="ADAL" clId="{CC804E0E-B381-4A8C-832B-11046074747A}" dt="2023-09-27T07:39:02.242" v="556" actId="790"/>
            <ac:spMkLst>
              <pc:docMk/>
              <pc:sldMasterMk cId="408341288" sldId="2147483648"/>
              <pc:sldLayoutMk cId="799966409" sldId="2147483654"/>
              <ac:spMk id="5" creationId="{00000000-0000-0000-0000-000000000000}"/>
            </ac:spMkLst>
          </pc:spChg>
          <pc:graphicFrameChg chg="mod">
            <ac:chgData name="Tobias Brammer" userId="80a1e1bd-3b82-47a5-b259-da62a397db92" providerId="ADAL" clId="{CC804E0E-B381-4A8C-832B-11046074747A}" dt="2023-09-27T07:39:03.687" v="1615"/>
            <ac:graphicFrameMkLst>
              <pc:docMk/>
              <pc:sldMasterMk cId="408341288" sldId="2147483648"/>
              <pc:sldLayoutMk cId="799966409" sldId="2147483654"/>
              <ac:graphicFrameMk id="4" creationId="{6251417E-2501-E881-FC04-B6D712425DBF}"/>
            </ac:graphicFrameMkLst>
          </pc:graphicFrameChg>
        </pc:sldLayoutChg>
        <pc:sldLayoutChg chg="addSp delSp modSp mod">
          <pc:chgData name="Tobias Brammer" userId="80a1e1bd-3b82-47a5-b259-da62a397db92" providerId="ADAL" clId="{CC804E0E-B381-4A8C-832B-11046074747A}" dt="2023-09-27T07:39:03.656" v="1599"/>
          <pc:sldLayoutMkLst>
            <pc:docMk/>
            <pc:sldMasterMk cId="408341288" sldId="2147483648"/>
            <pc:sldLayoutMk cId="2002834051" sldId="2147483661"/>
          </pc:sldLayoutMkLst>
          <pc:spChg chg="mod">
            <ac:chgData name="Tobias Brammer" userId="80a1e1bd-3b82-47a5-b259-da62a397db92" providerId="ADAL" clId="{CC804E0E-B381-4A8C-832B-11046074747A}" dt="2023-09-27T07:39:03.399" v="1224" actId="948"/>
            <ac:spMkLst>
              <pc:docMk/>
              <pc:sldMasterMk cId="408341288" sldId="2147483648"/>
              <pc:sldLayoutMk cId="2002834051" sldId="2147483661"/>
              <ac:spMk id="2" creationId="{41406E95-0077-466F-B205-C9B6361A1F13}"/>
            </ac:spMkLst>
          </pc:spChg>
          <pc:spChg chg="add del mod modVis">
            <ac:chgData name="Tobias Brammer" userId="80a1e1bd-3b82-47a5-b259-da62a397db92" providerId="ADAL" clId="{CC804E0E-B381-4A8C-832B-11046074747A}" dt="2023-09-27T07:39:03.656" v="1597"/>
            <ac:spMkLst>
              <pc:docMk/>
              <pc:sldMasterMk cId="408341288" sldId="2147483648"/>
              <pc:sldLayoutMk cId="2002834051" sldId="2147483661"/>
              <ac:spMk id="3" creationId="{37195914-9128-ED8A-D09E-FBB7DF83C450}"/>
            </ac:spMkLst>
          </pc:spChg>
          <pc:spChg chg="mod">
            <ac:chgData name="Tobias Brammer" userId="80a1e1bd-3b82-47a5-b259-da62a397db92" providerId="ADAL" clId="{CC804E0E-B381-4A8C-832B-11046074747A}" dt="2023-09-27T07:39:02.095" v="518"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CC804E0E-B381-4A8C-832B-11046074747A}" dt="2023-09-27T07:39:02.111" v="519"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CC804E0E-B381-4A8C-832B-11046074747A}" dt="2023-09-27T07:39:02.111" v="520"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CC804E0E-B381-4A8C-832B-11046074747A}" dt="2023-09-27T07:39:02.111" v="521"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CC804E0E-B381-4A8C-832B-11046074747A}" dt="2023-09-27T07:39:02.111" v="522" actId="790"/>
            <ac:spMkLst>
              <pc:docMk/>
              <pc:sldMasterMk cId="408341288" sldId="2147483648"/>
              <pc:sldLayoutMk cId="2002834051" sldId="2147483661"/>
              <ac:spMk id="13" creationId="{9DDCD743-188F-4B86-8747-1E373705BA9C}"/>
            </ac:spMkLst>
          </pc:spChg>
          <pc:graphicFrameChg chg="mod">
            <ac:chgData name="Tobias Brammer" userId="80a1e1bd-3b82-47a5-b259-da62a397db92" providerId="ADAL" clId="{CC804E0E-B381-4A8C-832B-11046074747A}" dt="2023-09-27T07:39:03.656" v="1599"/>
            <ac:graphicFrameMkLst>
              <pc:docMk/>
              <pc:sldMasterMk cId="408341288" sldId="2147483648"/>
              <pc:sldLayoutMk cId="2002834051" sldId="2147483661"/>
              <ac:graphicFrameMk id="4" creationId="{ED0CD790-3C72-3174-9BB9-AAC04CCFEA37}"/>
            </ac:graphicFrameMkLst>
          </pc:graphicFrameChg>
        </pc:sldLayoutChg>
        <pc:sldLayoutChg chg="addSp delSp modSp mod">
          <pc:chgData name="Tobias Brammer" userId="80a1e1bd-3b82-47a5-b259-da62a397db92" providerId="ADAL" clId="{CC804E0E-B381-4A8C-832B-11046074747A}" dt="2023-09-27T07:39:03.615" v="1543"/>
          <pc:sldLayoutMkLst>
            <pc:docMk/>
            <pc:sldMasterMk cId="408341288" sldId="2147483648"/>
            <pc:sldLayoutMk cId="1215719097" sldId="2147483663"/>
          </pc:sldLayoutMkLst>
          <pc:spChg chg="mod">
            <ac:chgData name="Tobias Brammer" userId="80a1e1bd-3b82-47a5-b259-da62a397db92" providerId="ADAL" clId="{CC804E0E-B381-4A8C-832B-11046074747A}" dt="2023-09-27T07:39:03.028" v="69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CC804E0E-B381-4A8C-832B-11046074747A}" dt="2023-09-27T07:39:01.772" v="437" actId="790"/>
            <ac:spMkLst>
              <pc:docMk/>
              <pc:sldMasterMk cId="408341288" sldId="2147483648"/>
              <pc:sldLayoutMk cId="1215719097" sldId="2147483663"/>
              <ac:spMk id="3" creationId="{00000000-0000-0000-0000-000000000000}"/>
            </ac:spMkLst>
          </pc:spChg>
          <pc:spChg chg="add del mod modVis">
            <ac:chgData name="Tobias Brammer" userId="80a1e1bd-3b82-47a5-b259-da62a397db92" providerId="ADAL" clId="{CC804E0E-B381-4A8C-832B-11046074747A}" dt="2023-09-27T07:39:03.615" v="1541"/>
            <ac:spMkLst>
              <pc:docMk/>
              <pc:sldMasterMk cId="408341288" sldId="2147483648"/>
              <pc:sldLayoutMk cId="1215719097" sldId="2147483663"/>
              <ac:spMk id="4" creationId="{F23D96E8-C0DF-3B5C-24BE-A02FF55EB66D}"/>
            </ac:spMkLst>
          </pc:spChg>
          <pc:spChg chg="mod">
            <ac:chgData name="Tobias Brammer" userId="80a1e1bd-3b82-47a5-b259-da62a397db92" providerId="ADAL" clId="{CC804E0E-B381-4A8C-832B-11046074747A}" dt="2023-09-27T07:39:01.772" v="438"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CC804E0E-B381-4A8C-832B-11046074747A}" dt="2023-09-27T07:39:01.756" v="435"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CC804E0E-B381-4A8C-832B-11046074747A}" dt="2023-09-27T07:39:01.772" v="439"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CC804E0E-B381-4A8C-832B-11046074747A}" dt="2023-09-27T07:39:01.772" v="441" actId="947"/>
            <ac:spMkLst>
              <pc:docMk/>
              <pc:sldMasterMk cId="408341288" sldId="2147483648"/>
              <pc:sldLayoutMk cId="1215719097" sldId="2147483663"/>
              <ac:spMk id="22" creationId="{7B05331B-4732-4B64-9AE5-022C6BC76C13}"/>
            </ac:spMkLst>
          </pc:spChg>
          <pc:graphicFrameChg chg="mod">
            <ac:chgData name="Tobias Brammer" userId="80a1e1bd-3b82-47a5-b259-da62a397db92" providerId="ADAL" clId="{CC804E0E-B381-4A8C-832B-11046074747A}" dt="2023-09-27T07:39:03.615" v="1543"/>
            <ac:graphicFrameMkLst>
              <pc:docMk/>
              <pc:sldMasterMk cId="408341288" sldId="2147483648"/>
              <pc:sldLayoutMk cId="1215719097" sldId="2147483663"/>
              <ac:graphicFrameMk id="5" creationId="{7C26A0E6-6391-3B1A-8CE6-894498A6F9D0}"/>
            </ac:graphicFrameMkLst>
          </pc:graphicFrameChg>
        </pc:sldLayoutChg>
        <pc:sldLayoutChg chg="addSp delSp modSp mod">
          <pc:chgData name="Tobias Brammer" userId="80a1e1bd-3b82-47a5-b259-da62a397db92" providerId="ADAL" clId="{CC804E0E-B381-4A8C-832B-11046074747A}" dt="2023-09-27T07:39:03.615" v="1539"/>
          <pc:sldLayoutMkLst>
            <pc:docMk/>
            <pc:sldMasterMk cId="408341288" sldId="2147483648"/>
            <pc:sldLayoutMk cId="3653027901" sldId="2147483672"/>
          </pc:sldLayoutMkLst>
          <pc:spChg chg="mod">
            <ac:chgData name="Tobias Brammer" userId="80a1e1bd-3b82-47a5-b259-da62a397db92" providerId="ADAL" clId="{CC804E0E-B381-4A8C-832B-11046074747A}" dt="2023-09-27T07:39:02.997" v="654"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CC804E0E-B381-4A8C-832B-11046074747A}" dt="2023-09-27T07:39:01.740" v="431" actId="790"/>
            <ac:spMkLst>
              <pc:docMk/>
              <pc:sldMasterMk cId="408341288" sldId="2147483648"/>
              <pc:sldLayoutMk cId="3653027901" sldId="2147483672"/>
              <ac:spMk id="3" creationId="{00000000-0000-0000-0000-000000000000}"/>
            </ac:spMkLst>
          </pc:spChg>
          <pc:spChg chg="add del mod modVis">
            <ac:chgData name="Tobias Brammer" userId="80a1e1bd-3b82-47a5-b259-da62a397db92" providerId="ADAL" clId="{CC804E0E-B381-4A8C-832B-11046074747A}" dt="2023-09-27T07:39:03.615" v="1537"/>
            <ac:spMkLst>
              <pc:docMk/>
              <pc:sldMasterMk cId="408341288" sldId="2147483648"/>
              <pc:sldLayoutMk cId="3653027901" sldId="2147483672"/>
              <ac:spMk id="4" creationId="{234065AF-3F62-EAFE-1E77-692F1C7307F0}"/>
            </ac:spMkLst>
          </pc:spChg>
          <pc:spChg chg="mod">
            <ac:chgData name="Tobias Brammer" userId="80a1e1bd-3b82-47a5-b259-da62a397db92" providerId="ADAL" clId="{CC804E0E-B381-4A8C-832B-11046074747A}" dt="2023-09-27T07:39:01.740" v="432"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CC804E0E-B381-4A8C-832B-11046074747A}" dt="2023-09-27T07:39:01.740" v="429"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CC804E0E-B381-4A8C-832B-11046074747A}" dt="2023-09-27T07:39:01.756" v="434" actId="947"/>
            <ac:spMkLst>
              <pc:docMk/>
              <pc:sldMasterMk cId="408341288" sldId="2147483648"/>
              <pc:sldLayoutMk cId="3653027901" sldId="2147483672"/>
              <ac:spMk id="28" creationId="{297EFA8A-BAF3-4E00-ABAE-12A3938FAD52}"/>
            </ac:spMkLst>
          </pc:spChg>
          <pc:graphicFrameChg chg="mod">
            <ac:chgData name="Tobias Brammer" userId="80a1e1bd-3b82-47a5-b259-da62a397db92" providerId="ADAL" clId="{CC804E0E-B381-4A8C-832B-11046074747A}" dt="2023-09-27T07:39:03.615" v="1539"/>
            <ac:graphicFrameMkLst>
              <pc:docMk/>
              <pc:sldMasterMk cId="408341288" sldId="2147483648"/>
              <pc:sldLayoutMk cId="3653027901" sldId="2147483672"/>
              <ac:graphicFrameMk id="5" creationId="{9C8B7415-416B-7FE1-937C-81DC5F7AF7F8}"/>
            </ac:graphicFrameMkLst>
          </pc:graphicFrameChg>
        </pc:sldLayoutChg>
        <pc:sldLayoutChg chg="addSp delSp modSp mod">
          <pc:chgData name="Tobias Brammer" userId="80a1e1bd-3b82-47a5-b259-da62a397db92" providerId="ADAL" clId="{CC804E0E-B381-4A8C-832B-11046074747A}" dt="2023-09-27T07:39:03.615" v="1547"/>
          <pc:sldLayoutMkLst>
            <pc:docMk/>
            <pc:sldMasterMk cId="408341288" sldId="2147483648"/>
            <pc:sldLayoutMk cId="2903942727" sldId="2147483673"/>
          </pc:sldLayoutMkLst>
          <pc:spChg chg="mod">
            <ac:chgData name="Tobias Brammer" userId="80a1e1bd-3b82-47a5-b259-da62a397db92" providerId="ADAL" clId="{CC804E0E-B381-4A8C-832B-11046074747A}" dt="2023-09-27T07:39:03.044" v="730"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CC804E0E-B381-4A8C-832B-11046074747A}" dt="2023-09-27T07:39:01.794" v="444" actId="790"/>
            <ac:spMkLst>
              <pc:docMk/>
              <pc:sldMasterMk cId="408341288" sldId="2147483648"/>
              <pc:sldLayoutMk cId="2903942727" sldId="2147483673"/>
              <ac:spMk id="3" creationId="{00000000-0000-0000-0000-000000000000}"/>
            </ac:spMkLst>
          </pc:spChg>
          <pc:spChg chg="add del mod modVis">
            <ac:chgData name="Tobias Brammer" userId="80a1e1bd-3b82-47a5-b259-da62a397db92" providerId="ADAL" clId="{CC804E0E-B381-4A8C-832B-11046074747A}" dt="2023-09-27T07:39:03.615" v="1545"/>
            <ac:spMkLst>
              <pc:docMk/>
              <pc:sldMasterMk cId="408341288" sldId="2147483648"/>
              <pc:sldLayoutMk cId="2903942727" sldId="2147483673"/>
              <ac:spMk id="4" creationId="{882A3B1A-60BA-1B6F-FDB4-72AC6E71E004}"/>
            </ac:spMkLst>
          </pc:spChg>
          <pc:spChg chg="mod">
            <ac:chgData name="Tobias Brammer" userId="80a1e1bd-3b82-47a5-b259-da62a397db92" providerId="ADAL" clId="{CC804E0E-B381-4A8C-832B-11046074747A}" dt="2023-09-27T07:39:01.794" v="447"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CC804E0E-B381-4A8C-832B-11046074747A}" dt="2023-09-27T07:39:01.787" v="442"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CC804E0E-B381-4A8C-832B-11046074747A}" dt="2023-09-27T07:39:01.794" v="448"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CC804E0E-B381-4A8C-832B-11046074747A}" dt="2023-09-27T07:39:01.794" v="446" actId="947"/>
            <ac:spMkLst>
              <pc:docMk/>
              <pc:sldMasterMk cId="408341288" sldId="2147483648"/>
              <pc:sldLayoutMk cId="2903942727" sldId="2147483673"/>
              <ac:spMk id="15" creationId="{D3B39772-6EF8-414F-B8CA-9572DA8DE679}"/>
            </ac:spMkLst>
          </pc:spChg>
          <pc:graphicFrameChg chg="mod">
            <ac:chgData name="Tobias Brammer" userId="80a1e1bd-3b82-47a5-b259-da62a397db92" providerId="ADAL" clId="{CC804E0E-B381-4A8C-832B-11046074747A}" dt="2023-09-27T07:39:03.615" v="1547"/>
            <ac:graphicFrameMkLst>
              <pc:docMk/>
              <pc:sldMasterMk cId="408341288" sldId="2147483648"/>
              <pc:sldLayoutMk cId="2903942727" sldId="2147483673"/>
              <ac:graphicFrameMk id="5" creationId="{13B33204-4D07-26B3-C91D-431E834A3215}"/>
            </ac:graphicFrameMkLst>
          </pc:graphicFrameChg>
        </pc:sldLayoutChg>
        <pc:sldLayoutChg chg="addSp delSp modSp mod">
          <pc:chgData name="Tobias Brammer" userId="80a1e1bd-3b82-47a5-b259-da62a397db92" providerId="ADAL" clId="{CC804E0E-B381-4A8C-832B-11046074747A}" dt="2023-09-27T07:39:03.630" v="1551"/>
          <pc:sldLayoutMkLst>
            <pc:docMk/>
            <pc:sldMasterMk cId="408341288" sldId="2147483648"/>
            <pc:sldLayoutMk cId="3777408618" sldId="2147483675"/>
          </pc:sldLayoutMkLst>
          <pc:spChg chg="mod">
            <ac:chgData name="Tobias Brammer" userId="80a1e1bd-3b82-47a5-b259-da62a397db92" providerId="ADAL" clId="{CC804E0E-B381-4A8C-832B-11046074747A}" dt="2023-09-27T07:39:03.075" v="768" actId="948"/>
            <ac:spMkLst>
              <pc:docMk/>
              <pc:sldMasterMk cId="408341288" sldId="2147483648"/>
              <pc:sldLayoutMk cId="3777408618" sldId="2147483675"/>
              <ac:spMk id="2" creationId="{00000000-0000-0000-0000-000000000000}"/>
            </ac:spMkLst>
          </pc:spChg>
          <pc:spChg chg="add del mod modVis">
            <ac:chgData name="Tobias Brammer" userId="80a1e1bd-3b82-47a5-b259-da62a397db92" providerId="ADAL" clId="{CC804E0E-B381-4A8C-832B-11046074747A}" dt="2023-09-27T07:39:03.630" v="1549"/>
            <ac:spMkLst>
              <pc:docMk/>
              <pc:sldMasterMk cId="408341288" sldId="2147483648"/>
              <pc:sldLayoutMk cId="3777408618" sldId="2147483675"/>
              <ac:spMk id="3" creationId="{0E67B661-9DD7-AF6F-908F-4744B4CED2EB}"/>
            </ac:spMkLst>
          </pc:spChg>
          <pc:spChg chg="mod">
            <ac:chgData name="Tobias Brammer" userId="80a1e1bd-3b82-47a5-b259-da62a397db92" providerId="ADAL" clId="{CC804E0E-B381-4A8C-832B-11046074747A}" dt="2023-09-27T07:39:01.810" v="450"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CC804E0E-B381-4A8C-832B-11046074747A}" dt="2023-09-27T07:39:01.810" v="449"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CC804E0E-B381-4A8C-832B-11046074747A}" dt="2023-09-27T07:39:01.825" v="454"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CC804E0E-B381-4A8C-832B-11046074747A}" dt="2023-09-27T07:39:01.825" v="452" actId="947"/>
            <ac:spMkLst>
              <pc:docMk/>
              <pc:sldMasterMk cId="408341288" sldId="2147483648"/>
              <pc:sldLayoutMk cId="3777408618" sldId="2147483675"/>
              <ac:spMk id="12" creationId="{3E26791D-912A-4A89-B575-16A619848A0E}"/>
            </ac:spMkLst>
          </pc:spChg>
          <pc:graphicFrameChg chg="mod">
            <ac:chgData name="Tobias Brammer" userId="80a1e1bd-3b82-47a5-b259-da62a397db92" providerId="ADAL" clId="{CC804E0E-B381-4A8C-832B-11046074747A}" dt="2023-09-27T07:39:03.630" v="1551"/>
            <ac:graphicFrameMkLst>
              <pc:docMk/>
              <pc:sldMasterMk cId="408341288" sldId="2147483648"/>
              <pc:sldLayoutMk cId="3777408618" sldId="2147483675"/>
              <ac:graphicFrameMk id="4" creationId="{EE13597B-E899-28DA-2685-B261BE4EC78C}"/>
            </ac:graphicFrameMkLst>
          </pc:graphicFrameChg>
        </pc:sldLayoutChg>
        <pc:sldLayoutChg chg="addSp delSp modSp mod">
          <pc:chgData name="Tobias Brammer" userId="80a1e1bd-3b82-47a5-b259-da62a397db92" providerId="ADAL" clId="{CC804E0E-B381-4A8C-832B-11046074747A}" dt="2023-09-27T07:39:03.630" v="1555"/>
          <pc:sldLayoutMkLst>
            <pc:docMk/>
            <pc:sldMasterMk cId="408341288" sldId="2147483648"/>
            <pc:sldLayoutMk cId="803479191" sldId="2147483676"/>
          </pc:sldLayoutMkLst>
          <pc:spChg chg="mod">
            <ac:chgData name="Tobias Brammer" userId="80a1e1bd-3b82-47a5-b259-da62a397db92" providerId="ADAL" clId="{CC804E0E-B381-4A8C-832B-11046074747A}" dt="2023-09-27T07:39:03.098" v="806" actId="948"/>
            <ac:spMkLst>
              <pc:docMk/>
              <pc:sldMasterMk cId="408341288" sldId="2147483648"/>
              <pc:sldLayoutMk cId="803479191" sldId="2147483676"/>
              <ac:spMk id="2" creationId="{00000000-0000-0000-0000-000000000000}"/>
            </ac:spMkLst>
          </pc:spChg>
          <pc:spChg chg="add del mod modVis">
            <ac:chgData name="Tobias Brammer" userId="80a1e1bd-3b82-47a5-b259-da62a397db92" providerId="ADAL" clId="{CC804E0E-B381-4A8C-832B-11046074747A}" dt="2023-09-27T07:39:03.630" v="1553"/>
            <ac:spMkLst>
              <pc:docMk/>
              <pc:sldMasterMk cId="408341288" sldId="2147483648"/>
              <pc:sldLayoutMk cId="803479191" sldId="2147483676"/>
              <ac:spMk id="3" creationId="{BE736F95-95A5-BBC2-8D18-F0C5DA04E9B2}"/>
            </ac:spMkLst>
          </pc:spChg>
          <pc:spChg chg="mod">
            <ac:chgData name="Tobias Brammer" userId="80a1e1bd-3b82-47a5-b259-da62a397db92" providerId="ADAL" clId="{CC804E0E-B381-4A8C-832B-11046074747A}" dt="2023-09-27T07:39:01.841" v="456"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CC804E0E-B381-4A8C-832B-11046074747A}" dt="2023-09-27T07:39:01.857" v="461"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CC804E0E-B381-4A8C-832B-11046074747A}" dt="2023-09-27T07:39:01.841" v="458"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CC804E0E-B381-4A8C-832B-11046074747A}" dt="2023-09-27T07:39:01.857" v="460" actId="947"/>
            <ac:spMkLst>
              <pc:docMk/>
              <pc:sldMasterMk cId="408341288" sldId="2147483648"/>
              <pc:sldLayoutMk cId="803479191" sldId="2147483676"/>
              <ac:spMk id="34" creationId="{D8329A9B-7465-4D18-8C10-A6F4DC3954EC}"/>
            </ac:spMkLst>
          </pc:spChg>
          <pc:graphicFrameChg chg="mod">
            <ac:chgData name="Tobias Brammer" userId="80a1e1bd-3b82-47a5-b259-da62a397db92" providerId="ADAL" clId="{CC804E0E-B381-4A8C-832B-11046074747A}" dt="2023-09-27T07:39:03.630" v="1555"/>
            <ac:graphicFrameMkLst>
              <pc:docMk/>
              <pc:sldMasterMk cId="408341288" sldId="2147483648"/>
              <pc:sldLayoutMk cId="803479191" sldId="2147483676"/>
              <ac:graphicFrameMk id="4" creationId="{E19A314B-22AD-EFCE-EA25-5C90DBDE93F0}"/>
            </ac:graphicFrameMkLst>
          </pc:graphicFrameChg>
        </pc:sldLayoutChg>
        <pc:sldLayoutChg chg="addSp delSp modSp mod">
          <pc:chgData name="Tobias Brammer" userId="80a1e1bd-3b82-47a5-b259-da62a397db92" providerId="ADAL" clId="{CC804E0E-B381-4A8C-832B-11046074747A}" dt="2023-09-27T07:39:03.630" v="1563"/>
          <pc:sldLayoutMkLst>
            <pc:docMk/>
            <pc:sldMasterMk cId="408341288" sldId="2147483648"/>
            <pc:sldLayoutMk cId="1348899113" sldId="2147483677"/>
          </pc:sldLayoutMkLst>
          <pc:spChg chg="mod">
            <ac:chgData name="Tobias Brammer" userId="80a1e1bd-3b82-47a5-b259-da62a397db92" providerId="ADAL" clId="{CC804E0E-B381-4A8C-832B-11046074747A}" dt="2023-09-27T07:39:03.160" v="882" actId="948"/>
            <ac:spMkLst>
              <pc:docMk/>
              <pc:sldMasterMk cId="408341288" sldId="2147483648"/>
              <pc:sldLayoutMk cId="1348899113" sldId="2147483677"/>
              <ac:spMk id="2" creationId="{00000000-0000-0000-0000-000000000000}"/>
            </ac:spMkLst>
          </pc:spChg>
          <pc:spChg chg="add del mod modVis">
            <ac:chgData name="Tobias Brammer" userId="80a1e1bd-3b82-47a5-b259-da62a397db92" providerId="ADAL" clId="{CC804E0E-B381-4A8C-832B-11046074747A}" dt="2023-09-27T07:39:03.630" v="1561"/>
            <ac:spMkLst>
              <pc:docMk/>
              <pc:sldMasterMk cId="408341288" sldId="2147483648"/>
              <pc:sldLayoutMk cId="1348899113" sldId="2147483677"/>
              <ac:spMk id="3" creationId="{035C6AB7-55B1-6469-DD1D-FA2D1BC80EFA}"/>
            </ac:spMkLst>
          </pc:spChg>
          <pc:spChg chg="mod">
            <ac:chgData name="Tobias Brammer" userId="80a1e1bd-3b82-47a5-b259-da62a397db92" providerId="ADAL" clId="{CC804E0E-B381-4A8C-832B-11046074747A}" dt="2023-09-27T07:39:01.894" v="469"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CC804E0E-B381-4A8C-832B-11046074747A}" dt="2023-09-27T07:39:01.894" v="471"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CC804E0E-B381-4A8C-832B-11046074747A}" dt="2023-09-27T07:39:01.894" v="473"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CC804E0E-B381-4A8C-832B-11046074747A}" dt="2023-09-27T07:39:01.910" v="475"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CC804E0E-B381-4A8C-832B-11046074747A}" dt="2023-09-27T07:39:01.894" v="474" actId="790"/>
            <ac:spMkLst>
              <pc:docMk/>
              <pc:sldMasterMk cId="408341288" sldId="2147483648"/>
              <pc:sldLayoutMk cId="1348899113" sldId="2147483677"/>
              <ac:spMk id="17" creationId="{0496EE00-B7B1-4FBC-AE5D-1ED4C224E899}"/>
            </ac:spMkLst>
          </pc:spChg>
          <pc:graphicFrameChg chg="mod">
            <ac:chgData name="Tobias Brammer" userId="80a1e1bd-3b82-47a5-b259-da62a397db92" providerId="ADAL" clId="{CC804E0E-B381-4A8C-832B-11046074747A}" dt="2023-09-27T07:39:03.630" v="1563"/>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CC804E0E-B381-4A8C-832B-11046074747A}" dt="2023-09-27T07:39:03.672" v="1609"/>
          <pc:sldLayoutMkLst>
            <pc:docMk/>
            <pc:sldMasterMk cId="408341288" sldId="2147483648"/>
            <pc:sldLayoutMk cId="1421122532" sldId="2147483678"/>
          </pc:sldLayoutMkLst>
          <pc:spChg chg="mod">
            <ac:chgData name="Tobias Brammer" userId="80a1e1bd-3b82-47a5-b259-da62a397db92" providerId="ADAL" clId="{CC804E0E-B381-4A8C-832B-11046074747A}" dt="2023-09-27T07:39:02.195" v="543"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CC804E0E-B381-4A8C-832B-11046074747A}" dt="2023-09-27T07:39:02.195" v="541"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CC804E0E-B381-4A8C-832B-11046074747A}" dt="2023-09-27T07:39:02.227" v="549"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CC804E0E-B381-4A8C-832B-11046074747A}" dt="2023-09-27T07:39:02.195" v="544"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CC804E0E-B381-4A8C-832B-11046074747A}" dt="2023-09-27T07:39:02.211" v="545"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CC804E0E-B381-4A8C-832B-11046074747A}" dt="2023-09-27T07:39:02.211" v="546"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CC804E0E-B381-4A8C-832B-11046074747A}" dt="2023-09-27T07:39:02.227" v="548"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CC804E0E-B381-4A8C-832B-11046074747A}" dt="2023-09-27T07:39:02.195" v="542" actId="790"/>
            <ac:spMkLst>
              <pc:docMk/>
              <pc:sldMasterMk cId="408341288" sldId="2147483648"/>
              <pc:sldLayoutMk cId="1421122532" sldId="2147483678"/>
              <ac:spMk id="36" creationId="{E965B3AD-EE9F-4A21-8AAE-0CF487A6FB7B}"/>
            </ac:spMkLst>
          </pc:spChg>
          <pc:graphicFrameChg chg="mod">
            <ac:chgData name="Tobias Brammer" userId="80a1e1bd-3b82-47a5-b259-da62a397db92" providerId="ADAL" clId="{CC804E0E-B381-4A8C-832B-11046074747A}" dt="2023-09-27T07:39:03.672" v="1609"/>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CC804E0E-B381-4A8C-832B-11046074747A}" dt="2023-09-27T07:39:03.672" v="1611"/>
          <pc:sldLayoutMkLst>
            <pc:docMk/>
            <pc:sldMasterMk cId="408341288" sldId="2147483648"/>
            <pc:sldLayoutMk cId="1013684879" sldId="2147483679"/>
          </pc:sldLayoutMkLst>
          <pc:spChg chg="mod">
            <ac:chgData name="Tobias Brammer" userId="80a1e1bd-3b82-47a5-b259-da62a397db92" providerId="ADAL" clId="{CC804E0E-B381-4A8C-832B-11046074747A}" dt="2023-09-27T07:39:02.242" v="553"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CC804E0E-B381-4A8C-832B-11046074747A}" dt="2023-09-27T07:39:02.242" v="554"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CC804E0E-B381-4A8C-832B-11046074747A}" dt="2023-09-27T07:39:02.227" v="550"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CC804E0E-B381-4A8C-832B-11046074747A}" dt="2023-09-27T07:39:02.227" v="551"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CC804E0E-B381-4A8C-832B-11046074747A}" dt="2023-09-27T07:39:02.242" v="552" actId="790"/>
            <ac:spMkLst>
              <pc:docMk/>
              <pc:sldMasterMk cId="408341288" sldId="2147483648"/>
              <pc:sldLayoutMk cId="1013684879" sldId="2147483679"/>
              <ac:spMk id="12" creationId="{C971CBE6-8195-46E1-AEA2-BD555ECCC0A9}"/>
            </ac:spMkLst>
          </pc:spChg>
          <pc:graphicFrameChg chg="mod">
            <ac:chgData name="Tobias Brammer" userId="80a1e1bd-3b82-47a5-b259-da62a397db92" providerId="ADAL" clId="{CC804E0E-B381-4A8C-832B-11046074747A}" dt="2023-09-27T07:39:03.672" v="1611"/>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CC804E0E-B381-4A8C-832B-11046074747A}" dt="2023-09-27T07:39:03.687" v="1617"/>
          <pc:sldLayoutMkLst>
            <pc:docMk/>
            <pc:sldMasterMk cId="408341288" sldId="2147483648"/>
            <pc:sldLayoutMk cId="3945193607" sldId="2147483680"/>
          </pc:sldLayoutMkLst>
          <pc:spChg chg="mod">
            <ac:chgData name="Tobias Brammer" userId="80a1e1bd-3b82-47a5-b259-da62a397db92" providerId="ADAL" clId="{CC804E0E-B381-4A8C-832B-11046074747A}" dt="2023-09-27T07:39:02.273" v="569"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CC804E0E-B381-4A8C-832B-11046074747A}" dt="2023-09-27T07:39:02.258" v="557"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CC804E0E-B381-4A8C-832B-11046074747A}" dt="2023-09-27T07:39:02.258" v="559"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CC804E0E-B381-4A8C-832B-11046074747A}" dt="2023-09-27T07:39:02.258" v="561"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CC804E0E-B381-4A8C-832B-11046074747A}" dt="2023-09-27T07:39:02.273" v="568"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CC804E0E-B381-4A8C-832B-11046074747A}" dt="2023-09-27T07:39:02.258" v="563"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CC804E0E-B381-4A8C-832B-11046074747A}" dt="2023-09-27T07:39:02.258" v="565"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CC804E0E-B381-4A8C-832B-11046074747A}" dt="2023-09-27T07:39:02.258" v="566"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CC804E0E-B381-4A8C-832B-11046074747A}" dt="2023-09-27T07:39:02.273" v="567" actId="790"/>
            <ac:spMkLst>
              <pc:docMk/>
              <pc:sldMasterMk cId="408341288" sldId="2147483648"/>
              <pc:sldLayoutMk cId="3945193607" sldId="2147483680"/>
              <ac:spMk id="37" creationId="{DBA9BEEB-9A9C-4E0D-B111-7218E5CD52D1}"/>
            </ac:spMkLst>
          </pc:spChg>
          <pc:graphicFrameChg chg="mod">
            <ac:chgData name="Tobias Brammer" userId="80a1e1bd-3b82-47a5-b259-da62a397db92" providerId="ADAL" clId="{CC804E0E-B381-4A8C-832B-11046074747A}" dt="2023-09-27T07:39:03.687" v="1617"/>
            <ac:graphicFrameMkLst>
              <pc:docMk/>
              <pc:sldMasterMk cId="408341288" sldId="2147483648"/>
              <pc:sldLayoutMk cId="3945193607" sldId="2147483680"/>
              <ac:graphicFrameMk id="2" creationId="{B2B34963-242D-90C7-1E7A-AB958EBC24B4}"/>
            </ac:graphicFrameMkLst>
          </pc:graphicFrameChg>
        </pc:sldLayoutChg>
        <pc:sldLayoutChg chg="addSp delSp modSp mod">
          <pc:chgData name="Tobias Brammer" userId="80a1e1bd-3b82-47a5-b259-da62a397db92" providerId="ADAL" clId="{CC804E0E-B381-4A8C-832B-11046074747A}" dt="2023-09-27T07:39:03.646" v="1575"/>
          <pc:sldLayoutMkLst>
            <pc:docMk/>
            <pc:sldMasterMk cId="408341288" sldId="2147483648"/>
            <pc:sldLayoutMk cId="547289489" sldId="2147483681"/>
          </pc:sldLayoutMkLst>
          <pc:spChg chg="mod">
            <ac:chgData name="Tobias Brammer" userId="80a1e1bd-3b82-47a5-b259-da62a397db92" providerId="ADAL" clId="{CC804E0E-B381-4A8C-832B-11046074747A}" dt="2023-09-27T07:39:03.230" v="996" actId="948"/>
            <ac:spMkLst>
              <pc:docMk/>
              <pc:sldMasterMk cId="408341288" sldId="2147483648"/>
              <pc:sldLayoutMk cId="547289489" sldId="2147483681"/>
              <ac:spMk id="2" creationId="{A45B6DFC-9623-4183-8403-5AF3E92605AA}"/>
            </ac:spMkLst>
          </pc:spChg>
          <pc:spChg chg="add del mod modVis">
            <ac:chgData name="Tobias Brammer" userId="80a1e1bd-3b82-47a5-b259-da62a397db92" providerId="ADAL" clId="{CC804E0E-B381-4A8C-832B-11046074747A}" dt="2023-09-27T07:39:03.646" v="1573"/>
            <ac:spMkLst>
              <pc:docMk/>
              <pc:sldMasterMk cId="408341288" sldId="2147483648"/>
              <pc:sldLayoutMk cId="547289489" sldId="2147483681"/>
              <ac:spMk id="3" creationId="{D9AF1973-F61D-0210-1EBB-F272CCF51281}"/>
            </ac:spMkLst>
          </pc:spChg>
          <pc:spChg chg="mod">
            <ac:chgData name="Tobias Brammer" userId="80a1e1bd-3b82-47a5-b259-da62a397db92" providerId="ADAL" clId="{CC804E0E-B381-4A8C-832B-11046074747A}" dt="2023-09-27T07:39:01.941" v="484"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CC804E0E-B381-4A8C-832B-11046074747A}" dt="2023-09-27T07:39:01.941" v="482"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CC804E0E-B381-4A8C-832B-11046074747A}" dt="2023-09-27T07:39:01.941" v="485"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CC804E0E-B381-4A8C-832B-11046074747A}" dt="2023-09-27T07:39:01.956" v="487" actId="947"/>
            <ac:spMkLst>
              <pc:docMk/>
              <pc:sldMasterMk cId="408341288" sldId="2147483648"/>
              <pc:sldLayoutMk cId="547289489" sldId="2147483681"/>
              <ac:spMk id="13" creationId="{C967A86E-1E38-460F-9723-9D24C8DEEF8B}"/>
            </ac:spMkLst>
          </pc:spChg>
          <pc:graphicFrameChg chg="mod">
            <ac:chgData name="Tobias Brammer" userId="80a1e1bd-3b82-47a5-b259-da62a397db92" providerId="ADAL" clId="{CC804E0E-B381-4A8C-832B-11046074747A}" dt="2023-09-27T07:39:03.646" v="1575"/>
            <ac:graphicFrameMkLst>
              <pc:docMk/>
              <pc:sldMasterMk cId="408341288" sldId="2147483648"/>
              <pc:sldLayoutMk cId="547289489" sldId="2147483681"/>
              <ac:graphicFrameMk id="4" creationId="{F3EE7813-74C2-F8E1-D412-BE30BC2B57C4}"/>
            </ac:graphicFrameMkLst>
          </pc:graphicFrameChg>
        </pc:sldLayoutChg>
        <pc:sldLayoutChg chg="addSp delSp modSp mod">
          <pc:chgData name="Tobias Brammer" userId="80a1e1bd-3b82-47a5-b259-da62a397db92" providerId="ADAL" clId="{CC804E0E-B381-4A8C-832B-11046074747A}" dt="2023-09-27T07:39:03.653" v="1579"/>
          <pc:sldLayoutMkLst>
            <pc:docMk/>
            <pc:sldMasterMk cId="408341288" sldId="2147483648"/>
            <pc:sldLayoutMk cId="1364635059" sldId="2147483682"/>
          </pc:sldLayoutMkLst>
          <pc:spChg chg="mod">
            <ac:chgData name="Tobias Brammer" userId="80a1e1bd-3b82-47a5-b259-da62a397db92" providerId="ADAL" clId="{CC804E0E-B381-4A8C-832B-11046074747A}" dt="2023-09-27T07:39:03.261" v="1034" actId="948"/>
            <ac:spMkLst>
              <pc:docMk/>
              <pc:sldMasterMk cId="408341288" sldId="2147483648"/>
              <pc:sldLayoutMk cId="1364635059" sldId="2147483682"/>
              <ac:spMk id="2" creationId="{A45B6DFC-9623-4183-8403-5AF3E92605AA}"/>
            </ac:spMkLst>
          </pc:spChg>
          <pc:spChg chg="add del mod modVis">
            <ac:chgData name="Tobias Brammer" userId="80a1e1bd-3b82-47a5-b259-da62a397db92" providerId="ADAL" clId="{CC804E0E-B381-4A8C-832B-11046074747A}" dt="2023-09-27T07:39:03.646" v="1577"/>
            <ac:spMkLst>
              <pc:docMk/>
              <pc:sldMasterMk cId="408341288" sldId="2147483648"/>
              <pc:sldLayoutMk cId="1364635059" sldId="2147483682"/>
              <ac:spMk id="3" creationId="{68DED495-CACE-345D-EFD0-94491D6CFAA6}"/>
            </ac:spMkLst>
          </pc:spChg>
          <pc:spChg chg="mod">
            <ac:chgData name="Tobias Brammer" userId="80a1e1bd-3b82-47a5-b259-da62a397db92" providerId="ADAL" clId="{CC804E0E-B381-4A8C-832B-11046074747A}" dt="2023-09-27T07:39:01.972" v="490"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CC804E0E-B381-4A8C-832B-11046074747A}" dt="2023-09-27T07:39:01.956" v="488"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CC804E0E-B381-4A8C-832B-11046074747A}" dt="2023-09-27T07:39:01.972" v="491"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CC804E0E-B381-4A8C-832B-11046074747A}" dt="2023-09-27T07:39:01.988" v="493" actId="947"/>
            <ac:spMkLst>
              <pc:docMk/>
              <pc:sldMasterMk cId="408341288" sldId="2147483648"/>
              <pc:sldLayoutMk cId="1364635059" sldId="2147483682"/>
              <ac:spMk id="13" creationId="{18590422-9BE5-4289-94F5-8531586DFCD8}"/>
            </ac:spMkLst>
          </pc:spChg>
          <pc:graphicFrameChg chg="mod">
            <ac:chgData name="Tobias Brammer" userId="80a1e1bd-3b82-47a5-b259-da62a397db92" providerId="ADAL" clId="{CC804E0E-B381-4A8C-832B-11046074747A}" dt="2023-09-27T07:39:03.653" v="1579"/>
            <ac:graphicFrameMkLst>
              <pc:docMk/>
              <pc:sldMasterMk cId="408341288" sldId="2147483648"/>
              <pc:sldLayoutMk cId="1364635059" sldId="2147483682"/>
              <ac:graphicFrameMk id="4" creationId="{C012E119-F5DD-6106-9214-36AB682F7F06}"/>
            </ac:graphicFrameMkLst>
          </pc:graphicFrameChg>
        </pc:sldLayoutChg>
        <pc:sldLayoutChg chg="addSp delSp modSp mod">
          <pc:chgData name="Tobias Brammer" userId="80a1e1bd-3b82-47a5-b259-da62a397db92" providerId="ADAL" clId="{CC804E0E-B381-4A8C-832B-11046074747A}" dt="2023-09-27T07:39:03.656" v="1583"/>
          <pc:sldLayoutMkLst>
            <pc:docMk/>
            <pc:sldMasterMk cId="408341288" sldId="2147483648"/>
            <pc:sldLayoutMk cId="3912777144" sldId="2147483683"/>
          </pc:sldLayoutMkLst>
          <pc:spChg chg="add del mod modVis">
            <ac:chgData name="Tobias Brammer" userId="80a1e1bd-3b82-47a5-b259-da62a397db92" providerId="ADAL" clId="{CC804E0E-B381-4A8C-832B-11046074747A}" dt="2023-09-27T07:39:03.655" v="1581"/>
            <ac:spMkLst>
              <pc:docMk/>
              <pc:sldMasterMk cId="408341288" sldId="2147483648"/>
              <pc:sldLayoutMk cId="3912777144" sldId="2147483683"/>
              <ac:spMk id="2" creationId="{4AE15B7C-04B1-C11A-F008-7862E807C65F}"/>
            </ac:spMkLst>
          </pc:spChg>
          <pc:spChg chg="mod">
            <ac:chgData name="Tobias Brammer" userId="80a1e1bd-3b82-47a5-b259-da62a397db92" providerId="ADAL" clId="{CC804E0E-B381-4A8C-832B-11046074747A}" dt="2023-09-27T07:39:01.994" v="497"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CC804E0E-B381-4A8C-832B-11046074747A}" dt="2023-09-27T07:39:01.988" v="494"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CC804E0E-B381-4A8C-832B-11046074747A}" dt="2023-09-27T07:39:01.994" v="498"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CC804E0E-B381-4A8C-832B-11046074747A}" dt="2023-09-27T07:39:03.276" v="1072"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CC804E0E-B381-4A8C-832B-11046074747A}" dt="2023-09-27T07:39:01.994" v="499"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CC804E0E-B381-4A8C-832B-11046074747A}" dt="2023-09-27T07:39:01.994" v="495"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CC804E0E-B381-4A8C-832B-11046074747A}" dt="2023-09-27T07:39:02.026" v="501" actId="947"/>
            <ac:spMkLst>
              <pc:docMk/>
              <pc:sldMasterMk cId="408341288" sldId="2147483648"/>
              <pc:sldLayoutMk cId="3912777144" sldId="2147483683"/>
              <ac:spMk id="33" creationId="{C96493EE-CEB4-4D66-95C2-0B294097E5C1}"/>
            </ac:spMkLst>
          </pc:spChg>
          <pc:graphicFrameChg chg="mod">
            <ac:chgData name="Tobias Brammer" userId="80a1e1bd-3b82-47a5-b259-da62a397db92" providerId="ADAL" clId="{CC804E0E-B381-4A8C-832B-11046074747A}" dt="2023-09-27T07:39:03.656" v="1583"/>
            <ac:graphicFrameMkLst>
              <pc:docMk/>
              <pc:sldMasterMk cId="408341288" sldId="2147483648"/>
              <pc:sldLayoutMk cId="3912777144" sldId="2147483683"/>
              <ac:graphicFrameMk id="3" creationId="{DB55FE80-6286-289B-DD1E-C57D0B5F519F}"/>
            </ac:graphicFrameMkLst>
          </pc:graphicFrameChg>
        </pc:sldLayoutChg>
        <pc:sldLayoutChg chg="addSp delSp modSp mod">
          <pc:chgData name="Tobias Brammer" userId="80a1e1bd-3b82-47a5-b259-da62a397db92" providerId="ADAL" clId="{CC804E0E-B381-4A8C-832B-11046074747A}" dt="2023-09-27T07:39:03.656" v="1587"/>
          <pc:sldLayoutMkLst>
            <pc:docMk/>
            <pc:sldMasterMk cId="408341288" sldId="2147483648"/>
            <pc:sldLayoutMk cId="3865668458" sldId="2147483684"/>
          </pc:sldLayoutMkLst>
          <pc:spChg chg="mod">
            <ac:chgData name="Tobias Brammer" userId="80a1e1bd-3b82-47a5-b259-da62a397db92" providerId="ADAL" clId="{CC804E0E-B381-4A8C-832B-11046074747A}" dt="2023-09-27T07:39:03.299" v="1110" actId="948"/>
            <ac:spMkLst>
              <pc:docMk/>
              <pc:sldMasterMk cId="408341288" sldId="2147483648"/>
              <pc:sldLayoutMk cId="3865668458" sldId="2147483684"/>
              <ac:spMk id="2" creationId="{41406E95-0077-466F-B205-C9B6361A1F13}"/>
            </ac:spMkLst>
          </pc:spChg>
          <pc:spChg chg="add del mod modVis">
            <ac:chgData name="Tobias Brammer" userId="80a1e1bd-3b82-47a5-b259-da62a397db92" providerId="ADAL" clId="{CC804E0E-B381-4A8C-832B-11046074747A}" dt="2023-09-27T07:39:03.656" v="1585"/>
            <ac:spMkLst>
              <pc:docMk/>
              <pc:sldMasterMk cId="408341288" sldId="2147483648"/>
              <pc:sldLayoutMk cId="3865668458" sldId="2147483684"/>
              <ac:spMk id="3" creationId="{2549C3F1-DDD4-ADD2-6ECC-10448ADE364C}"/>
            </ac:spMkLst>
          </pc:spChg>
          <pc:spChg chg="mod">
            <ac:chgData name="Tobias Brammer" userId="80a1e1bd-3b82-47a5-b259-da62a397db92" providerId="ADAL" clId="{CC804E0E-B381-4A8C-832B-11046074747A}" dt="2023-09-27T07:39:02.026" v="503"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CC804E0E-B381-4A8C-832B-11046074747A}" dt="2023-09-27T07:39:02.041" v="504"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CC804E0E-B381-4A8C-832B-11046074747A}" dt="2023-09-27T07:39:02.041" v="505" actId="790"/>
            <ac:spMkLst>
              <pc:docMk/>
              <pc:sldMasterMk cId="408341288" sldId="2147483648"/>
              <pc:sldLayoutMk cId="3865668458" sldId="2147483684"/>
              <ac:spMk id="9" creationId="{2A765D59-1E8F-45BF-9694-4433FBE0A66E}"/>
            </ac:spMkLst>
          </pc:spChg>
          <pc:graphicFrameChg chg="mod">
            <ac:chgData name="Tobias Brammer" userId="80a1e1bd-3b82-47a5-b259-da62a397db92" providerId="ADAL" clId="{CC804E0E-B381-4A8C-832B-11046074747A}" dt="2023-09-27T07:39:03.656" v="1587"/>
            <ac:graphicFrameMkLst>
              <pc:docMk/>
              <pc:sldMasterMk cId="408341288" sldId="2147483648"/>
              <pc:sldLayoutMk cId="3865668458" sldId="2147483684"/>
              <ac:graphicFrameMk id="4" creationId="{06E8AE74-7B17-EDE3-BB81-AD934018C725}"/>
            </ac:graphicFrameMkLst>
          </pc:graphicFrameChg>
        </pc:sldLayoutChg>
        <pc:sldLayoutChg chg="addSp delSp modSp mod">
          <pc:chgData name="Tobias Brammer" userId="80a1e1bd-3b82-47a5-b259-da62a397db92" providerId="ADAL" clId="{CC804E0E-B381-4A8C-832B-11046074747A}" dt="2023-09-27T07:39:03.656" v="1591"/>
          <pc:sldLayoutMkLst>
            <pc:docMk/>
            <pc:sldMasterMk cId="408341288" sldId="2147483648"/>
            <pc:sldLayoutMk cId="1230172900" sldId="2147483685"/>
          </pc:sldLayoutMkLst>
          <pc:spChg chg="mod">
            <ac:chgData name="Tobias Brammer" userId="80a1e1bd-3b82-47a5-b259-da62a397db92" providerId="ADAL" clId="{CC804E0E-B381-4A8C-832B-11046074747A}" dt="2023-09-27T07:39:03.330" v="1148" actId="948"/>
            <ac:spMkLst>
              <pc:docMk/>
              <pc:sldMasterMk cId="408341288" sldId="2147483648"/>
              <pc:sldLayoutMk cId="1230172900" sldId="2147483685"/>
              <ac:spMk id="2" creationId="{41406E95-0077-466F-B205-C9B6361A1F13}"/>
            </ac:spMkLst>
          </pc:spChg>
          <pc:spChg chg="add del mod modVis">
            <ac:chgData name="Tobias Brammer" userId="80a1e1bd-3b82-47a5-b259-da62a397db92" providerId="ADAL" clId="{CC804E0E-B381-4A8C-832B-11046074747A}" dt="2023-09-27T07:39:03.656" v="1589"/>
            <ac:spMkLst>
              <pc:docMk/>
              <pc:sldMasterMk cId="408341288" sldId="2147483648"/>
              <pc:sldLayoutMk cId="1230172900" sldId="2147483685"/>
              <ac:spMk id="3" creationId="{0850CB87-12AA-AF08-031D-1ED11E397BE0}"/>
            </ac:spMkLst>
          </pc:spChg>
          <pc:spChg chg="mod">
            <ac:chgData name="Tobias Brammer" userId="80a1e1bd-3b82-47a5-b259-da62a397db92" providerId="ADAL" clId="{CC804E0E-B381-4A8C-832B-11046074747A}" dt="2023-09-27T07:39:02.041" v="507"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CC804E0E-B381-4A8C-832B-11046074747A}" dt="2023-09-27T07:39:02.057" v="508"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CC804E0E-B381-4A8C-832B-11046074747A}" dt="2023-09-27T07:39:02.057" v="509"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CC804E0E-B381-4A8C-832B-11046074747A}" dt="2023-09-27T07:39:02.057" v="510" actId="790"/>
            <ac:spMkLst>
              <pc:docMk/>
              <pc:sldMasterMk cId="408341288" sldId="2147483648"/>
              <pc:sldLayoutMk cId="1230172900" sldId="2147483685"/>
              <ac:spMk id="9" creationId="{2A765D59-1E8F-45BF-9694-4433FBE0A66E}"/>
            </ac:spMkLst>
          </pc:spChg>
          <pc:graphicFrameChg chg="mod">
            <ac:chgData name="Tobias Brammer" userId="80a1e1bd-3b82-47a5-b259-da62a397db92" providerId="ADAL" clId="{CC804E0E-B381-4A8C-832B-11046074747A}" dt="2023-09-27T07:39:03.656" v="1591"/>
            <ac:graphicFrameMkLst>
              <pc:docMk/>
              <pc:sldMasterMk cId="408341288" sldId="2147483648"/>
              <pc:sldLayoutMk cId="1230172900" sldId="2147483685"/>
              <ac:graphicFrameMk id="4" creationId="{E87B03DB-BAEC-5561-E2F2-6CA14020B0FA}"/>
            </ac:graphicFrameMkLst>
          </pc:graphicFrameChg>
        </pc:sldLayoutChg>
        <pc:sldLayoutChg chg="addSp delSp modSp mod">
          <pc:chgData name="Tobias Brammer" userId="80a1e1bd-3b82-47a5-b259-da62a397db92" providerId="ADAL" clId="{CC804E0E-B381-4A8C-832B-11046074747A}" dt="2023-09-27T07:39:03.656" v="1595"/>
          <pc:sldLayoutMkLst>
            <pc:docMk/>
            <pc:sldMasterMk cId="408341288" sldId="2147483648"/>
            <pc:sldLayoutMk cId="1463015649" sldId="2147483686"/>
          </pc:sldLayoutMkLst>
          <pc:spChg chg="mod">
            <ac:chgData name="Tobias Brammer" userId="80a1e1bd-3b82-47a5-b259-da62a397db92" providerId="ADAL" clId="{CC804E0E-B381-4A8C-832B-11046074747A}" dt="2023-09-27T07:39:03.361" v="1186" actId="948"/>
            <ac:spMkLst>
              <pc:docMk/>
              <pc:sldMasterMk cId="408341288" sldId="2147483648"/>
              <pc:sldLayoutMk cId="1463015649" sldId="2147483686"/>
              <ac:spMk id="2" creationId="{41406E95-0077-466F-B205-C9B6361A1F13}"/>
            </ac:spMkLst>
          </pc:spChg>
          <pc:spChg chg="add del mod modVis">
            <ac:chgData name="Tobias Brammer" userId="80a1e1bd-3b82-47a5-b259-da62a397db92" providerId="ADAL" clId="{CC804E0E-B381-4A8C-832B-11046074747A}" dt="2023-09-27T07:39:03.656" v="1593"/>
            <ac:spMkLst>
              <pc:docMk/>
              <pc:sldMasterMk cId="408341288" sldId="2147483648"/>
              <pc:sldLayoutMk cId="1463015649" sldId="2147483686"/>
              <ac:spMk id="3" creationId="{AE8A485D-F983-0973-AF7C-94756BAE51E8}"/>
            </ac:spMkLst>
          </pc:spChg>
          <pc:spChg chg="mod">
            <ac:chgData name="Tobias Brammer" userId="80a1e1bd-3b82-47a5-b259-da62a397db92" providerId="ADAL" clId="{CC804E0E-B381-4A8C-832B-11046074747A}" dt="2023-09-27T07:39:02.073" v="512"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CC804E0E-B381-4A8C-832B-11046074747A}" dt="2023-09-27T07:39:02.073" v="513"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CC804E0E-B381-4A8C-832B-11046074747A}" dt="2023-09-27T07:39:02.088" v="514"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CC804E0E-B381-4A8C-832B-11046074747A}" dt="2023-09-27T07:39:02.095" v="515"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CC804E0E-B381-4A8C-832B-11046074747A}" dt="2023-09-27T07:39:02.095" v="516" actId="790"/>
            <ac:spMkLst>
              <pc:docMk/>
              <pc:sldMasterMk cId="408341288" sldId="2147483648"/>
              <pc:sldLayoutMk cId="1463015649" sldId="2147483686"/>
              <ac:spMk id="10" creationId="{6A45B6CB-352F-4E32-AF69-C299C10A51C2}"/>
            </ac:spMkLst>
          </pc:spChg>
          <pc:graphicFrameChg chg="mod">
            <ac:chgData name="Tobias Brammer" userId="80a1e1bd-3b82-47a5-b259-da62a397db92" providerId="ADAL" clId="{CC804E0E-B381-4A8C-832B-11046074747A}" dt="2023-09-27T07:39:03.656" v="1595"/>
            <ac:graphicFrameMkLst>
              <pc:docMk/>
              <pc:sldMasterMk cId="408341288" sldId="2147483648"/>
              <pc:sldLayoutMk cId="1463015649" sldId="2147483686"/>
              <ac:graphicFrameMk id="4" creationId="{A407E8C6-0376-2DE4-3C8E-914D1A021849}"/>
            </ac:graphicFrameMkLst>
          </pc:graphicFrameChg>
        </pc:sldLayoutChg>
        <pc:sldLayoutChg chg="addSp delSp modSp mod">
          <pc:chgData name="Tobias Brammer" userId="80a1e1bd-3b82-47a5-b259-da62a397db92" providerId="ADAL" clId="{CC804E0E-B381-4A8C-832B-11046074747A}" dt="2023-09-27T07:39:03.672" v="1603"/>
          <pc:sldLayoutMkLst>
            <pc:docMk/>
            <pc:sldMasterMk cId="408341288" sldId="2147483648"/>
            <pc:sldLayoutMk cId="3511884162" sldId="2147483687"/>
          </pc:sldLayoutMkLst>
          <pc:spChg chg="mod">
            <ac:chgData name="Tobias Brammer" userId="80a1e1bd-3b82-47a5-b259-da62a397db92" providerId="ADAL" clId="{CC804E0E-B381-4A8C-832B-11046074747A}" dt="2023-09-27T07:39:03.414" v="1262" actId="948"/>
            <ac:spMkLst>
              <pc:docMk/>
              <pc:sldMasterMk cId="408341288" sldId="2147483648"/>
              <pc:sldLayoutMk cId="3511884162" sldId="2147483687"/>
              <ac:spMk id="2" creationId="{41406E95-0077-466F-B205-C9B6361A1F13}"/>
            </ac:spMkLst>
          </pc:spChg>
          <pc:spChg chg="add del mod modVis">
            <ac:chgData name="Tobias Brammer" userId="80a1e1bd-3b82-47a5-b259-da62a397db92" providerId="ADAL" clId="{CC804E0E-B381-4A8C-832B-11046074747A}" dt="2023-09-27T07:39:03.672" v="1601"/>
            <ac:spMkLst>
              <pc:docMk/>
              <pc:sldMasterMk cId="408341288" sldId="2147483648"/>
              <pc:sldLayoutMk cId="3511884162" sldId="2147483687"/>
              <ac:spMk id="3" creationId="{DC975C43-B4BB-8850-08A2-F27D2500B57B}"/>
            </ac:spMkLst>
          </pc:spChg>
          <pc:spChg chg="mod">
            <ac:chgData name="Tobias Brammer" userId="80a1e1bd-3b82-47a5-b259-da62a397db92" providerId="ADAL" clId="{CC804E0E-B381-4A8C-832B-11046074747A}" dt="2023-09-27T07:39:02.126" v="524"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CC804E0E-B381-4A8C-832B-11046074747A}" dt="2023-09-27T07:39:02.126" v="525"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CC804E0E-B381-4A8C-832B-11046074747A}" dt="2023-09-27T07:39:02.142" v="526"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CC804E0E-B381-4A8C-832B-11046074747A}" dt="2023-09-27T07:39:02.142" v="527"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CC804E0E-B381-4A8C-832B-11046074747A}" dt="2023-09-27T07:39:02.142" v="528"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CC804E0E-B381-4A8C-832B-11046074747A}" dt="2023-09-27T07:39:02.142" v="529"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CC804E0E-B381-4A8C-832B-11046074747A}" dt="2023-09-27T07:39:02.142" v="530" actId="790"/>
            <ac:spMkLst>
              <pc:docMk/>
              <pc:sldMasterMk cId="408341288" sldId="2147483648"/>
              <pc:sldLayoutMk cId="3511884162" sldId="2147483687"/>
              <ac:spMk id="14" creationId="{4377A560-23C0-491F-BDB7-C58123E772DF}"/>
            </ac:spMkLst>
          </pc:spChg>
          <pc:graphicFrameChg chg="mod">
            <ac:chgData name="Tobias Brammer" userId="80a1e1bd-3b82-47a5-b259-da62a397db92" providerId="ADAL" clId="{CC804E0E-B381-4A8C-832B-11046074747A}" dt="2023-09-27T07:39:03.672" v="1603"/>
            <ac:graphicFrameMkLst>
              <pc:docMk/>
              <pc:sldMasterMk cId="408341288" sldId="2147483648"/>
              <pc:sldLayoutMk cId="3511884162" sldId="2147483687"/>
              <ac:graphicFrameMk id="4" creationId="{894B3E18-6AF9-96A9-7EF6-3F8F268D7B69}"/>
            </ac:graphicFrameMkLst>
          </pc:graphicFrameChg>
        </pc:sldLayoutChg>
        <pc:sldLayoutChg chg="addSp delSp modSp mod">
          <pc:chgData name="Tobias Brammer" userId="80a1e1bd-3b82-47a5-b259-da62a397db92" providerId="ADAL" clId="{CC804E0E-B381-4A8C-832B-11046074747A}" dt="2023-09-27T07:39:03.672" v="1607"/>
          <pc:sldLayoutMkLst>
            <pc:docMk/>
            <pc:sldMasterMk cId="408341288" sldId="2147483648"/>
            <pc:sldLayoutMk cId="1427491588" sldId="2147483688"/>
          </pc:sldLayoutMkLst>
          <pc:spChg chg="mod">
            <ac:chgData name="Tobias Brammer" userId="80a1e1bd-3b82-47a5-b259-da62a397db92" providerId="ADAL" clId="{CC804E0E-B381-4A8C-832B-11046074747A}" dt="2023-09-27T07:39:03.446" v="1300" actId="948"/>
            <ac:spMkLst>
              <pc:docMk/>
              <pc:sldMasterMk cId="408341288" sldId="2147483648"/>
              <pc:sldLayoutMk cId="1427491588" sldId="2147483688"/>
              <ac:spMk id="2" creationId="{41406E95-0077-466F-B205-C9B6361A1F13}"/>
            </ac:spMkLst>
          </pc:spChg>
          <pc:spChg chg="add del mod modVis">
            <ac:chgData name="Tobias Brammer" userId="80a1e1bd-3b82-47a5-b259-da62a397db92" providerId="ADAL" clId="{CC804E0E-B381-4A8C-832B-11046074747A}" dt="2023-09-27T07:39:03.672" v="1605"/>
            <ac:spMkLst>
              <pc:docMk/>
              <pc:sldMasterMk cId="408341288" sldId="2147483648"/>
              <pc:sldLayoutMk cId="1427491588" sldId="2147483688"/>
              <ac:spMk id="3" creationId="{AC1AC490-1977-DAB1-B80A-E7D0FB19EC2B}"/>
            </ac:spMkLst>
          </pc:spChg>
          <pc:spChg chg="mod">
            <ac:chgData name="Tobias Brammer" userId="80a1e1bd-3b82-47a5-b259-da62a397db92" providerId="ADAL" clId="{CC804E0E-B381-4A8C-832B-11046074747A}" dt="2023-09-27T07:39:02.157" v="532"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CC804E0E-B381-4A8C-832B-11046074747A}" dt="2023-09-27T07:39:02.157" v="533"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CC804E0E-B381-4A8C-832B-11046074747A}" dt="2023-09-27T07:39:02.173" v="534"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CC804E0E-B381-4A8C-832B-11046074747A}" dt="2023-09-27T07:39:02.173" v="535"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CC804E0E-B381-4A8C-832B-11046074747A}" dt="2023-09-27T07:39:02.173" v="536"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CC804E0E-B381-4A8C-832B-11046074747A}" dt="2023-09-27T07:39:02.173" v="537"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CC804E0E-B381-4A8C-832B-11046074747A}" dt="2023-09-27T07:39:02.173" v="538"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CC804E0E-B381-4A8C-832B-11046074747A}" dt="2023-09-27T07:39:02.189" v="539"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CC804E0E-B381-4A8C-832B-11046074747A}" dt="2023-09-27T07:39:02.195" v="540" actId="790"/>
            <ac:spMkLst>
              <pc:docMk/>
              <pc:sldMasterMk cId="408341288" sldId="2147483648"/>
              <pc:sldLayoutMk cId="1427491588" sldId="2147483688"/>
              <ac:spMk id="18" creationId="{1807E5E9-1B45-4641-B765-AAEC167C62E6}"/>
            </ac:spMkLst>
          </pc:spChg>
          <pc:graphicFrameChg chg="mod">
            <ac:chgData name="Tobias Brammer" userId="80a1e1bd-3b82-47a5-b259-da62a397db92" providerId="ADAL" clId="{CC804E0E-B381-4A8C-832B-11046074747A}" dt="2023-09-27T07:39:03.672" v="1607"/>
            <ac:graphicFrameMkLst>
              <pc:docMk/>
              <pc:sldMasterMk cId="408341288" sldId="2147483648"/>
              <pc:sldLayoutMk cId="1427491588" sldId="2147483688"/>
              <ac:graphicFrameMk id="4" creationId="{DF67402E-0A98-654F-37FA-246E12DB1E2B}"/>
            </ac:graphicFrameMkLst>
          </pc:graphicFrameChg>
        </pc:sldLayoutChg>
        <pc:sldLayoutChg chg="addSp delSp modSp mod">
          <pc:chgData name="Tobias Brammer" userId="80a1e1bd-3b82-47a5-b259-da62a397db92" providerId="ADAL" clId="{CC804E0E-B381-4A8C-832B-11046074747A}" dt="2023-09-27T07:39:03.630" v="1559"/>
          <pc:sldLayoutMkLst>
            <pc:docMk/>
            <pc:sldMasterMk cId="408341288" sldId="2147483648"/>
            <pc:sldLayoutMk cId="1501344722" sldId="2147483691"/>
          </pc:sldLayoutMkLst>
          <pc:spChg chg="mod">
            <ac:chgData name="Tobias Brammer" userId="80a1e1bd-3b82-47a5-b259-da62a397db92" providerId="ADAL" clId="{CC804E0E-B381-4A8C-832B-11046074747A}" dt="2023-09-27T07:39:03.129" v="844" actId="948"/>
            <ac:spMkLst>
              <pc:docMk/>
              <pc:sldMasterMk cId="408341288" sldId="2147483648"/>
              <pc:sldLayoutMk cId="1501344722" sldId="2147483691"/>
              <ac:spMk id="2" creationId="{92C1918C-9363-4876-BE81-A1CD339A2D47}"/>
            </ac:spMkLst>
          </pc:spChg>
          <pc:spChg chg="add del mod modVis">
            <ac:chgData name="Tobias Brammer" userId="80a1e1bd-3b82-47a5-b259-da62a397db92" providerId="ADAL" clId="{CC804E0E-B381-4A8C-832B-11046074747A}" dt="2023-09-27T07:39:03.630" v="1557"/>
            <ac:spMkLst>
              <pc:docMk/>
              <pc:sldMasterMk cId="408341288" sldId="2147483648"/>
              <pc:sldLayoutMk cId="1501344722" sldId="2147483691"/>
              <ac:spMk id="3" creationId="{25B5FF4F-715D-3917-F8E5-3B7063D69AE3}"/>
            </ac:spMkLst>
          </pc:spChg>
          <pc:spChg chg="mod">
            <ac:chgData name="Tobias Brammer" userId="80a1e1bd-3b82-47a5-b259-da62a397db92" providerId="ADAL" clId="{CC804E0E-B381-4A8C-832B-11046074747A}" dt="2023-09-27T07:39:01.857" v="463"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CC804E0E-B381-4A8C-832B-11046074747A}" dt="2023-09-27T07:39:01.872" v="464"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CC804E0E-B381-4A8C-832B-11046074747A}" dt="2023-09-27T07:39:01.872" v="465"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CC804E0E-B381-4A8C-832B-11046074747A}" dt="2023-09-27T07:39:01.872" v="466"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CC804E0E-B381-4A8C-832B-11046074747A}" dt="2023-09-27T07:39:01.872" v="467" actId="790"/>
            <ac:spMkLst>
              <pc:docMk/>
              <pc:sldMasterMk cId="408341288" sldId="2147483648"/>
              <pc:sldLayoutMk cId="1501344722" sldId="2147483691"/>
              <ac:spMk id="20" creationId="{526EFD36-E395-47FA-A4C9-907A4C94848A}"/>
            </ac:spMkLst>
          </pc:spChg>
          <pc:graphicFrameChg chg="mod">
            <ac:chgData name="Tobias Brammer" userId="80a1e1bd-3b82-47a5-b259-da62a397db92" providerId="ADAL" clId="{CC804E0E-B381-4A8C-832B-11046074747A}" dt="2023-09-27T07:39:03.630" v="1559"/>
            <ac:graphicFrameMkLst>
              <pc:docMk/>
              <pc:sldMasterMk cId="408341288" sldId="2147483648"/>
              <pc:sldLayoutMk cId="1501344722" sldId="2147483691"/>
              <ac:graphicFrameMk id="4" creationId="{639A8324-4EAB-D001-BF91-8F238CF8521C}"/>
            </ac:graphicFrameMkLst>
          </pc:graphicFrameChg>
        </pc:sldLayoutChg>
        <pc:sldLayoutChg chg="addSp delSp modSp mod">
          <pc:chgData name="Tobias Brammer" userId="80a1e1bd-3b82-47a5-b259-da62a397db92" providerId="ADAL" clId="{CC804E0E-B381-4A8C-832B-11046074747A}" dt="2023-09-27T07:39:03.646" v="1571"/>
          <pc:sldLayoutMkLst>
            <pc:docMk/>
            <pc:sldMasterMk cId="408341288" sldId="2147483648"/>
            <pc:sldLayoutMk cId="2650753366" sldId="2147483692"/>
          </pc:sldLayoutMkLst>
          <pc:spChg chg="mod">
            <ac:chgData name="Tobias Brammer" userId="80a1e1bd-3b82-47a5-b259-da62a397db92" providerId="ADAL" clId="{CC804E0E-B381-4A8C-832B-11046074747A}" dt="2023-09-27T07:39:03.198" v="958" actId="948"/>
            <ac:spMkLst>
              <pc:docMk/>
              <pc:sldMasterMk cId="408341288" sldId="2147483648"/>
              <pc:sldLayoutMk cId="2650753366" sldId="2147483692"/>
              <ac:spMk id="2" creationId="{EDABB80B-B68E-403D-8533-538037F78BC9}"/>
            </ac:spMkLst>
          </pc:spChg>
          <pc:spChg chg="add del mod modVis">
            <ac:chgData name="Tobias Brammer" userId="80a1e1bd-3b82-47a5-b259-da62a397db92" providerId="ADAL" clId="{CC804E0E-B381-4A8C-832B-11046074747A}" dt="2023-09-27T07:39:03.630" v="1569"/>
            <ac:spMkLst>
              <pc:docMk/>
              <pc:sldMasterMk cId="408341288" sldId="2147483648"/>
              <pc:sldLayoutMk cId="2650753366" sldId="2147483692"/>
              <ac:spMk id="3" creationId="{96A7AEBC-70DD-8FA4-AC13-F5A6835F6702}"/>
            </ac:spMkLst>
          </pc:spChg>
          <pc:spChg chg="mod">
            <ac:chgData name="Tobias Brammer" userId="80a1e1bd-3b82-47a5-b259-da62a397db92" providerId="ADAL" clId="{CC804E0E-B381-4A8C-832B-11046074747A}" dt="2023-09-27T07:39:01.925" v="480"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CC804E0E-B381-4A8C-832B-11046074747A}" dt="2023-09-27T07:39:01.925" v="481" actId="790"/>
            <ac:spMkLst>
              <pc:docMk/>
              <pc:sldMasterMk cId="408341288" sldId="2147483648"/>
              <pc:sldLayoutMk cId="2650753366" sldId="2147483692"/>
              <ac:spMk id="9" creationId="{AE3E6A7E-4961-403F-A8EA-EB08707ECA2C}"/>
            </ac:spMkLst>
          </pc:spChg>
          <pc:graphicFrameChg chg="mod">
            <ac:chgData name="Tobias Brammer" userId="80a1e1bd-3b82-47a5-b259-da62a397db92" providerId="ADAL" clId="{CC804E0E-B381-4A8C-832B-11046074747A}" dt="2023-09-27T07:39:03.646" v="1571"/>
            <ac:graphicFrameMkLst>
              <pc:docMk/>
              <pc:sldMasterMk cId="408341288" sldId="2147483648"/>
              <pc:sldLayoutMk cId="2650753366" sldId="2147483692"/>
              <ac:graphicFrameMk id="4" creationId="{C44E94A3-94F7-4876-BD09-C61C8FBD6718}"/>
            </ac:graphicFrameMkLst>
          </pc:graphicFrameChg>
        </pc:sldLayoutChg>
      </pc:sldMasterChg>
    </pc:docChg>
  </pc:docChgLst>
  <pc:docChgLst>
    <pc:chgData name="Tobias Brammer" userId="80a1e1bd-3b82-47a5-b259-da62a397db92" providerId="ADAL" clId="{3B3FF1B7-3648-4124-BB8A-6F3BCE5B4B40}"/>
    <pc:docChg chg="custSel modSld">
      <pc:chgData name="Tobias Brammer" userId="80a1e1bd-3b82-47a5-b259-da62a397db92" providerId="ADAL" clId="{3B3FF1B7-3648-4124-BB8A-6F3BCE5B4B40}" dt="2023-11-20T13:49:20.993" v="119" actId="1076"/>
      <pc:docMkLst>
        <pc:docMk/>
      </pc:docMkLst>
      <pc:sldChg chg="modSp mod">
        <pc:chgData name="Tobias Brammer" userId="80a1e1bd-3b82-47a5-b259-da62a397db92" providerId="ADAL" clId="{3B3FF1B7-3648-4124-BB8A-6F3BCE5B4B40}" dt="2023-11-20T12:27:00.380" v="108" actId="20577"/>
        <pc:sldMkLst>
          <pc:docMk/>
          <pc:sldMk cId="762254632" sldId="327"/>
        </pc:sldMkLst>
        <pc:spChg chg="mod">
          <ac:chgData name="Tobias Brammer" userId="80a1e1bd-3b82-47a5-b259-da62a397db92" providerId="ADAL" clId="{3B3FF1B7-3648-4124-BB8A-6F3BCE5B4B40}" dt="2023-11-20T12:27:00.380" v="108" actId="20577"/>
          <ac:spMkLst>
            <pc:docMk/>
            <pc:sldMk cId="762254632" sldId="327"/>
            <ac:spMk id="5" creationId="{0256447C-D35F-4F86-D90B-E90F6B46AE7F}"/>
          </ac:spMkLst>
        </pc:spChg>
      </pc:sldChg>
      <pc:sldChg chg="addSp delSp modSp mod">
        <pc:chgData name="Tobias Brammer" userId="80a1e1bd-3b82-47a5-b259-da62a397db92" providerId="ADAL" clId="{3B3FF1B7-3648-4124-BB8A-6F3BCE5B4B40}" dt="2023-11-20T13:44:38.572" v="113" actId="478"/>
        <pc:sldMkLst>
          <pc:docMk/>
          <pc:sldMk cId="3816713439" sldId="330"/>
        </pc:sldMkLst>
        <pc:picChg chg="add del mod">
          <ac:chgData name="Tobias Brammer" userId="80a1e1bd-3b82-47a5-b259-da62a397db92" providerId="ADAL" clId="{3B3FF1B7-3648-4124-BB8A-6F3BCE5B4B40}" dt="2023-11-20T13:44:38.572" v="113" actId="478"/>
          <ac:picMkLst>
            <pc:docMk/>
            <pc:sldMk cId="3816713439" sldId="330"/>
            <ac:picMk id="5" creationId="{4E2B3D78-A27D-A85A-EEBA-08DBAB784D4A}"/>
          </ac:picMkLst>
        </pc:picChg>
        <pc:picChg chg="del">
          <ac:chgData name="Tobias Brammer" userId="80a1e1bd-3b82-47a5-b259-da62a397db92" providerId="ADAL" clId="{3B3FF1B7-3648-4124-BB8A-6F3BCE5B4B40}" dt="2023-11-20T13:43:44.493" v="109" actId="478"/>
          <ac:picMkLst>
            <pc:docMk/>
            <pc:sldMk cId="3816713439" sldId="330"/>
            <ac:picMk id="12" creationId="{BC45735F-E063-4678-D02A-CBB56F461006}"/>
          </ac:picMkLst>
        </pc:picChg>
      </pc:sldChg>
      <pc:sldChg chg="addSp delSp modSp mod">
        <pc:chgData name="Tobias Brammer" userId="80a1e1bd-3b82-47a5-b259-da62a397db92" providerId="ADAL" clId="{3B3FF1B7-3648-4124-BB8A-6F3BCE5B4B40}" dt="2023-11-20T13:49:20.993" v="119" actId="1076"/>
        <pc:sldMkLst>
          <pc:docMk/>
          <pc:sldMk cId="2191927288" sldId="335"/>
        </pc:sldMkLst>
        <pc:spChg chg="mod">
          <ac:chgData name="Tobias Brammer" userId="80a1e1bd-3b82-47a5-b259-da62a397db92" providerId="ADAL" clId="{3B3FF1B7-3648-4124-BB8A-6F3BCE5B4B40}" dt="2023-11-20T13:45:29.124" v="115" actId="20577"/>
          <ac:spMkLst>
            <pc:docMk/>
            <pc:sldMk cId="2191927288" sldId="335"/>
            <ac:spMk id="8" creationId="{9974A259-DC86-27AE-073B-E1B517848965}"/>
          </ac:spMkLst>
        </pc:spChg>
        <pc:picChg chg="add mod">
          <ac:chgData name="Tobias Brammer" userId="80a1e1bd-3b82-47a5-b259-da62a397db92" providerId="ADAL" clId="{3B3FF1B7-3648-4124-BB8A-6F3BCE5B4B40}" dt="2023-11-20T13:49:20.993" v="119" actId="1076"/>
          <ac:picMkLst>
            <pc:docMk/>
            <pc:sldMk cId="2191927288" sldId="335"/>
            <ac:picMk id="5" creationId="{ADAC423B-C252-4C66-7292-7A219FD869D6}"/>
          </ac:picMkLst>
        </pc:picChg>
        <pc:picChg chg="del">
          <ac:chgData name="Tobias Brammer" userId="80a1e1bd-3b82-47a5-b259-da62a397db92" providerId="ADAL" clId="{3B3FF1B7-3648-4124-BB8A-6F3BCE5B4B40}" dt="2023-11-20T13:49:04.622" v="116" actId="478"/>
          <ac:picMkLst>
            <pc:docMk/>
            <pc:sldMk cId="2191927288" sldId="335"/>
            <ac:picMk id="12" creationId="{BC45735F-E063-4678-D02A-CBB56F461006}"/>
          </ac:picMkLst>
        </pc:picChg>
      </pc:sldChg>
    </pc:docChg>
  </pc:docChgLst>
  <pc:docChgLst>
    <pc:chgData name="Tobias Brammer" userId="80a1e1bd-3b82-47a5-b259-da62a397db92" providerId="ADAL" clId="{4309C268-4C5E-44FD-9D52-D042135427E2}"/>
    <pc:docChg chg="undo custSel addSld delSld modSld sldOrd replTag">
      <pc:chgData name="Tobias Brammer" userId="80a1e1bd-3b82-47a5-b259-da62a397db92" providerId="ADAL" clId="{4309C268-4C5E-44FD-9D52-D042135427E2}" dt="2023-11-16T13:27:02.165" v="1955" actId="47"/>
      <pc:docMkLst>
        <pc:docMk/>
      </pc:docMkLst>
      <pc:sldChg chg="mod modTransition modShow">
        <pc:chgData name="Tobias Brammer" userId="80a1e1bd-3b82-47a5-b259-da62a397db92" providerId="ADAL" clId="{4309C268-4C5E-44FD-9D52-D042135427E2}" dt="2023-11-16T11:51:36.784" v="1"/>
        <pc:sldMkLst>
          <pc:docMk/>
          <pc:sldMk cId="2492524537" sldId="309"/>
        </pc:sldMkLst>
      </pc:sldChg>
      <pc:sldChg chg="del">
        <pc:chgData name="Tobias Brammer" userId="80a1e1bd-3b82-47a5-b259-da62a397db92" providerId="ADAL" clId="{4309C268-4C5E-44FD-9D52-D042135427E2}" dt="2023-11-16T12:16:04.396" v="790" actId="47"/>
        <pc:sldMkLst>
          <pc:docMk/>
          <pc:sldMk cId="3090062221" sldId="311"/>
        </pc:sldMkLst>
      </pc:sldChg>
      <pc:sldChg chg="delSp mod">
        <pc:chgData name="Tobias Brammer" userId="80a1e1bd-3b82-47a5-b259-da62a397db92" providerId="ADAL" clId="{4309C268-4C5E-44FD-9D52-D042135427E2}" dt="2023-11-16T11:52:23.817" v="8" actId="478"/>
        <pc:sldMkLst>
          <pc:docMk/>
          <pc:sldMk cId="1578015824" sldId="321"/>
        </pc:sldMkLst>
        <pc:picChg chg="del">
          <ac:chgData name="Tobias Brammer" userId="80a1e1bd-3b82-47a5-b259-da62a397db92" providerId="ADAL" clId="{4309C268-4C5E-44FD-9D52-D042135427E2}" dt="2023-11-16T11:52:22.634" v="6" actId="478"/>
          <ac:picMkLst>
            <pc:docMk/>
            <pc:sldMk cId="1578015824" sldId="321"/>
            <ac:picMk id="5" creationId="{49FEF599-4481-3F8B-4151-51CFB1C73A1D}"/>
          </ac:picMkLst>
        </pc:picChg>
        <pc:picChg chg="del">
          <ac:chgData name="Tobias Brammer" userId="80a1e1bd-3b82-47a5-b259-da62a397db92" providerId="ADAL" clId="{4309C268-4C5E-44FD-9D52-D042135427E2}" dt="2023-11-16T11:52:23.817" v="8" actId="478"/>
          <ac:picMkLst>
            <pc:docMk/>
            <pc:sldMk cId="1578015824" sldId="321"/>
            <ac:picMk id="8" creationId="{7AC3476A-B839-CB17-91E2-ACF997C5763B}"/>
          </ac:picMkLst>
        </pc:picChg>
        <pc:picChg chg="del">
          <ac:chgData name="Tobias Brammer" userId="80a1e1bd-3b82-47a5-b259-da62a397db92" providerId="ADAL" clId="{4309C268-4C5E-44FD-9D52-D042135427E2}" dt="2023-11-16T11:52:23.481" v="7" actId="478"/>
          <ac:picMkLst>
            <pc:docMk/>
            <pc:sldMk cId="1578015824" sldId="321"/>
            <ac:picMk id="11" creationId="{BD1D84C1-6A33-A37C-5477-C4E523C619A0}"/>
          </ac:picMkLst>
        </pc:picChg>
      </pc:sldChg>
      <pc:sldChg chg="mod modTransition modShow">
        <pc:chgData name="Tobias Brammer" userId="80a1e1bd-3b82-47a5-b259-da62a397db92" providerId="ADAL" clId="{4309C268-4C5E-44FD-9D52-D042135427E2}" dt="2023-11-16T11:51:36.784" v="1"/>
        <pc:sldMkLst>
          <pc:docMk/>
          <pc:sldMk cId="3780667075" sldId="324"/>
        </pc:sldMkLst>
      </pc:sldChg>
      <pc:sldChg chg="mod modTransition modShow">
        <pc:chgData name="Tobias Brammer" userId="80a1e1bd-3b82-47a5-b259-da62a397db92" providerId="ADAL" clId="{4309C268-4C5E-44FD-9D52-D042135427E2}" dt="2023-11-16T11:51:43.618" v="5"/>
        <pc:sldMkLst>
          <pc:docMk/>
          <pc:sldMk cId="2214565963" sldId="325"/>
        </pc:sldMkLst>
      </pc:sldChg>
      <pc:sldChg chg="addSp delSp modSp mod">
        <pc:chgData name="Tobias Brammer" userId="80a1e1bd-3b82-47a5-b259-da62a397db92" providerId="ADAL" clId="{4309C268-4C5E-44FD-9D52-D042135427E2}" dt="2023-11-16T13:26:42.275" v="1953" actId="1076"/>
        <pc:sldMkLst>
          <pc:docMk/>
          <pc:sldMk cId="762254632" sldId="327"/>
        </pc:sldMkLst>
        <pc:spChg chg="add del mod">
          <ac:chgData name="Tobias Brammer" userId="80a1e1bd-3b82-47a5-b259-da62a397db92" providerId="ADAL" clId="{4309C268-4C5E-44FD-9D52-D042135427E2}" dt="2023-11-16T13:26:09.485" v="1947" actId="14100"/>
          <ac:spMkLst>
            <pc:docMk/>
            <pc:sldMk cId="762254632" sldId="327"/>
            <ac:spMk id="5" creationId="{0256447C-D35F-4F86-D90B-E90F6B46AE7F}"/>
          </ac:spMkLst>
        </pc:spChg>
        <pc:picChg chg="add del mod">
          <ac:chgData name="Tobias Brammer" userId="80a1e1bd-3b82-47a5-b259-da62a397db92" providerId="ADAL" clId="{4309C268-4C5E-44FD-9D52-D042135427E2}" dt="2023-11-16T12:26:35.460" v="1601" actId="478"/>
          <ac:picMkLst>
            <pc:docMk/>
            <pc:sldMk cId="762254632" sldId="327"/>
            <ac:picMk id="2" creationId="{51296B2E-EC6C-4E59-86B7-973B09FFDAEF}"/>
          </ac:picMkLst>
        </pc:picChg>
        <pc:picChg chg="add del mod">
          <ac:chgData name="Tobias Brammer" userId="80a1e1bd-3b82-47a5-b259-da62a397db92" providerId="ADAL" clId="{4309C268-4C5E-44FD-9D52-D042135427E2}" dt="2023-11-16T12:26:45.481" v="1631" actId="478"/>
          <ac:picMkLst>
            <pc:docMk/>
            <pc:sldMk cId="762254632" sldId="327"/>
            <ac:picMk id="3" creationId="{EE90B632-E290-DAE9-7698-28DAC3B02197}"/>
          </ac:picMkLst>
        </pc:picChg>
        <pc:picChg chg="del mod ord replST">
          <ac:chgData name="Tobias Brammer" userId="80a1e1bd-3b82-47a5-b259-da62a397db92" providerId="ADAL" clId="{4309C268-4C5E-44FD-9D52-D042135427E2}" dt="2023-11-16T12:27:10.508" v="1662" actId="478"/>
          <ac:picMkLst>
            <pc:docMk/>
            <pc:sldMk cId="762254632" sldId="327"/>
            <ac:picMk id="7" creationId="{49636D9D-9A8F-6FC9-4E6C-A9D1ED6D349F}"/>
          </ac:picMkLst>
        </pc:picChg>
        <pc:picChg chg="mod ord replST">
          <ac:chgData name="Tobias Brammer" userId="80a1e1bd-3b82-47a5-b259-da62a397db92" providerId="ADAL" clId="{4309C268-4C5E-44FD-9D52-D042135427E2}" dt="2023-11-16T13:26:15.137" v="1948" actId="1076"/>
          <ac:picMkLst>
            <pc:docMk/>
            <pc:sldMk cId="762254632" sldId="327"/>
            <ac:picMk id="9" creationId="{0F345685-9460-E07A-59BB-0DD576793740}"/>
          </ac:picMkLst>
        </pc:picChg>
        <pc:picChg chg="add mod">
          <ac:chgData name="Tobias Brammer" userId="80a1e1bd-3b82-47a5-b259-da62a397db92" providerId="ADAL" clId="{4309C268-4C5E-44FD-9D52-D042135427E2}" dt="2023-11-16T13:26:42.275" v="1953" actId="1076"/>
          <ac:picMkLst>
            <pc:docMk/>
            <pc:sldMk cId="762254632" sldId="327"/>
            <ac:picMk id="12" creationId="{47664333-D894-5056-83A2-6BDBEC61091C}"/>
          </ac:picMkLst>
        </pc:picChg>
      </pc:sldChg>
      <pc:sldChg chg="mod modTransition modShow">
        <pc:chgData name="Tobias Brammer" userId="80a1e1bd-3b82-47a5-b259-da62a397db92" providerId="ADAL" clId="{4309C268-4C5E-44FD-9D52-D042135427E2}" dt="2023-11-16T11:51:39.244" v="3"/>
        <pc:sldMkLst>
          <pc:docMk/>
          <pc:sldMk cId="3444026750" sldId="328"/>
        </pc:sldMkLst>
      </pc:sldChg>
      <pc:sldChg chg="addSp delSp modSp add mod">
        <pc:chgData name="Tobias Brammer" userId="80a1e1bd-3b82-47a5-b259-da62a397db92" providerId="ADAL" clId="{4309C268-4C5E-44FD-9D52-D042135427E2}" dt="2023-11-16T12:15:49.922" v="789" actId="5793"/>
        <pc:sldMkLst>
          <pc:docMk/>
          <pc:sldMk cId="1279689104" sldId="329"/>
        </pc:sldMkLst>
        <pc:spChg chg="add del mod">
          <ac:chgData name="Tobias Brammer" userId="80a1e1bd-3b82-47a5-b259-da62a397db92" providerId="ADAL" clId="{4309C268-4C5E-44FD-9D52-D042135427E2}" dt="2023-11-16T12:02:51.088" v="33"/>
          <ac:spMkLst>
            <pc:docMk/>
            <pc:sldMk cId="1279689104" sldId="329"/>
            <ac:spMk id="6" creationId="{C876B72B-C151-2C3A-E214-1A09C4A0808A}"/>
          </ac:spMkLst>
        </pc:spChg>
        <pc:spChg chg="del mod">
          <ac:chgData name="Tobias Brammer" userId="80a1e1bd-3b82-47a5-b259-da62a397db92" providerId="ADAL" clId="{4309C268-4C5E-44FD-9D52-D042135427E2}" dt="2023-11-16T12:03:14.682" v="47" actId="478"/>
          <ac:spMkLst>
            <pc:docMk/>
            <pc:sldMk cId="1279689104" sldId="329"/>
            <ac:spMk id="7" creationId="{DEC53627-8BE2-118B-148A-8A775CEDD3D3}"/>
          </ac:spMkLst>
        </pc:spChg>
        <pc:spChg chg="add mod">
          <ac:chgData name="Tobias Brammer" userId="80a1e1bd-3b82-47a5-b259-da62a397db92" providerId="ADAL" clId="{4309C268-4C5E-44FD-9D52-D042135427E2}" dt="2023-11-16T12:15:49.922" v="789" actId="5793"/>
          <ac:spMkLst>
            <pc:docMk/>
            <pc:sldMk cId="1279689104" sldId="329"/>
            <ac:spMk id="8" creationId="{9974A259-DC86-27AE-073B-E1B517848965}"/>
          </ac:spMkLst>
        </pc:spChg>
        <pc:spChg chg="add del mod">
          <ac:chgData name="Tobias Brammer" userId="80a1e1bd-3b82-47a5-b259-da62a397db92" providerId="ADAL" clId="{4309C268-4C5E-44FD-9D52-D042135427E2}" dt="2023-11-16T12:03:16.454" v="48" actId="478"/>
          <ac:spMkLst>
            <pc:docMk/>
            <pc:sldMk cId="1279689104" sldId="329"/>
            <ac:spMk id="10" creationId="{27F7E60B-2D50-5969-849C-82C93CE3E2C5}"/>
          </ac:spMkLst>
        </pc:spChg>
        <pc:grpChg chg="del mod">
          <ac:chgData name="Tobias Brammer" userId="80a1e1bd-3b82-47a5-b259-da62a397db92" providerId="ADAL" clId="{4309C268-4C5E-44FD-9D52-D042135427E2}" dt="2023-11-16T11:56:39.977" v="19" actId="478"/>
          <ac:grpSpMkLst>
            <pc:docMk/>
            <pc:sldMk cId="1279689104" sldId="329"/>
            <ac:grpSpMk id="573" creationId="{818986B4-A717-237D-7A54-E7CB27EE1917}"/>
          </ac:grpSpMkLst>
        </pc:grpChg>
        <pc:picChg chg="add del mod">
          <ac:chgData name="Tobias Brammer" userId="80a1e1bd-3b82-47a5-b259-da62a397db92" providerId="ADAL" clId="{4309C268-4C5E-44FD-9D52-D042135427E2}" dt="2023-11-16T12:02:54.967" v="34" actId="478"/>
          <ac:picMkLst>
            <pc:docMk/>
            <pc:sldMk cId="1279689104" sldId="329"/>
            <ac:picMk id="5" creationId="{A8B6549A-1A69-93CB-91FD-0D656DD5EBD5}"/>
          </ac:picMkLst>
        </pc:picChg>
        <pc:picChg chg="mod">
          <ac:chgData name="Tobias Brammer" userId="80a1e1bd-3b82-47a5-b259-da62a397db92" providerId="ADAL" clId="{4309C268-4C5E-44FD-9D52-D042135427E2}" dt="2023-11-16T11:56:33.792" v="16" actId="14100"/>
          <ac:picMkLst>
            <pc:docMk/>
            <pc:sldMk cId="1279689104" sldId="329"/>
            <ac:picMk id="5" creationId="{AF7C8EFE-C3AE-4071-CD8B-66B4BDC92595}"/>
          </ac:picMkLst>
        </pc:picChg>
        <pc:picChg chg="add mod">
          <ac:chgData name="Tobias Brammer" userId="80a1e1bd-3b82-47a5-b259-da62a397db92" providerId="ADAL" clId="{4309C268-4C5E-44FD-9D52-D042135427E2}" dt="2023-11-16T12:04:41.661" v="98" actId="1076"/>
          <ac:picMkLst>
            <pc:docMk/>
            <pc:sldMk cId="1279689104" sldId="329"/>
            <ac:picMk id="12" creationId="{BC45735F-E063-4678-D02A-CBB56F461006}"/>
          </ac:picMkLst>
        </pc:picChg>
      </pc:sldChg>
      <pc:sldChg chg="add del">
        <pc:chgData name="Tobias Brammer" userId="80a1e1bd-3b82-47a5-b259-da62a397db92" providerId="ADAL" clId="{4309C268-4C5E-44FD-9D52-D042135427E2}" dt="2023-11-16T12:04:58.348" v="101" actId="47"/>
        <pc:sldMkLst>
          <pc:docMk/>
          <pc:sldMk cId="795149680" sldId="330"/>
        </pc:sldMkLst>
      </pc:sldChg>
      <pc:sldChg chg="modSp add mod ord">
        <pc:chgData name="Tobias Brammer" userId="80a1e1bd-3b82-47a5-b259-da62a397db92" providerId="ADAL" clId="{4309C268-4C5E-44FD-9D52-D042135427E2}" dt="2023-11-16T12:08:14.335" v="415"/>
        <pc:sldMkLst>
          <pc:docMk/>
          <pc:sldMk cId="3816713439" sldId="330"/>
        </pc:sldMkLst>
        <pc:spChg chg="mod">
          <ac:chgData name="Tobias Brammer" userId="80a1e1bd-3b82-47a5-b259-da62a397db92" providerId="ADAL" clId="{4309C268-4C5E-44FD-9D52-D042135427E2}" dt="2023-11-16T12:08:06.160" v="413" actId="20577"/>
          <ac:spMkLst>
            <pc:docMk/>
            <pc:sldMk cId="3816713439" sldId="330"/>
            <ac:spMk id="8" creationId="{9974A259-DC86-27AE-073B-E1B517848965}"/>
          </ac:spMkLst>
        </pc:spChg>
        <pc:picChg chg="mod">
          <ac:chgData name="Tobias Brammer" userId="80a1e1bd-3b82-47a5-b259-da62a397db92" providerId="ADAL" clId="{4309C268-4C5E-44FD-9D52-D042135427E2}" dt="2023-11-16T12:05:12.612" v="103" actId="14826"/>
          <ac:picMkLst>
            <pc:docMk/>
            <pc:sldMk cId="3816713439" sldId="330"/>
            <ac:picMk id="12" creationId="{BC45735F-E063-4678-D02A-CBB56F461006}"/>
          </ac:picMkLst>
        </pc:picChg>
      </pc:sldChg>
      <pc:sldChg chg="modSp add mod">
        <pc:chgData name="Tobias Brammer" userId="80a1e1bd-3b82-47a5-b259-da62a397db92" providerId="ADAL" clId="{4309C268-4C5E-44FD-9D52-D042135427E2}" dt="2023-11-16T12:09:49.787" v="599" actId="20577"/>
        <pc:sldMkLst>
          <pc:docMk/>
          <pc:sldMk cId="2198107308" sldId="331"/>
        </pc:sldMkLst>
        <pc:spChg chg="mod">
          <ac:chgData name="Tobias Brammer" userId="80a1e1bd-3b82-47a5-b259-da62a397db92" providerId="ADAL" clId="{4309C268-4C5E-44FD-9D52-D042135427E2}" dt="2023-11-16T12:09:49.787" v="599" actId="20577"/>
          <ac:spMkLst>
            <pc:docMk/>
            <pc:sldMk cId="2198107308" sldId="331"/>
            <ac:spMk id="8" creationId="{9974A259-DC86-27AE-073B-E1B517848965}"/>
          </ac:spMkLst>
        </pc:spChg>
        <pc:picChg chg="mod">
          <ac:chgData name="Tobias Brammer" userId="80a1e1bd-3b82-47a5-b259-da62a397db92" providerId="ADAL" clId="{4309C268-4C5E-44FD-9D52-D042135427E2}" dt="2023-11-16T12:08:33.951" v="418" actId="14826"/>
          <ac:picMkLst>
            <pc:docMk/>
            <pc:sldMk cId="2198107308" sldId="331"/>
            <ac:picMk id="12" creationId="{BC45735F-E063-4678-D02A-CBB56F461006}"/>
          </ac:picMkLst>
        </pc:picChg>
      </pc:sldChg>
      <pc:sldChg chg="modSp add mod">
        <pc:chgData name="Tobias Brammer" userId="80a1e1bd-3b82-47a5-b259-da62a397db92" providerId="ADAL" clId="{4309C268-4C5E-44FD-9D52-D042135427E2}" dt="2023-11-16T12:14:58.155" v="745" actId="20577"/>
        <pc:sldMkLst>
          <pc:docMk/>
          <pc:sldMk cId="1431617520" sldId="332"/>
        </pc:sldMkLst>
        <pc:spChg chg="mod">
          <ac:chgData name="Tobias Brammer" userId="80a1e1bd-3b82-47a5-b259-da62a397db92" providerId="ADAL" clId="{4309C268-4C5E-44FD-9D52-D042135427E2}" dt="2023-11-16T12:14:58.155" v="745" actId="20577"/>
          <ac:spMkLst>
            <pc:docMk/>
            <pc:sldMk cId="1431617520" sldId="332"/>
            <ac:spMk id="8" creationId="{9974A259-DC86-27AE-073B-E1B517848965}"/>
          </ac:spMkLst>
        </pc:spChg>
        <pc:picChg chg="mod">
          <ac:chgData name="Tobias Brammer" userId="80a1e1bd-3b82-47a5-b259-da62a397db92" providerId="ADAL" clId="{4309C268-4C5E-44FD-9D52-D042135427E2}" dt="2023-11-16T12:10:12.139" v="618" actId="14826"/>
          <ac:picMkLst>
            <pc:docMk/>
            <pc:sldMk cId="1431617520" sldId="332"/>
            <ac:picMk id="12" creationId="{BC45735F-E063-4678-D02A-CBB56F461006}"/>
          </ac:picMkLst>
        </pc:picChg>
      </pc:sldChg>
      <pc:sldChg chg="modSp add mod">
        <pc:chgData name="Tobias Brammer" userId="80a1e1bd-3b82-47a5-b259-da62a397db92" providerId="ADAL" clId="{4309C268-4C5E-44FD-9D52-D042135427E2}" dt="2023-11-16T12:12:06.078" v="744" actId="20577"/>
        <pc:sldMkLst>
          <pc:docMk/>
          <pc:sldMk cId="160220345" sldId="333"/>
        </pc:sldMkLst>
        <pc:spChg chg="mod">
          <ac:chgData name="Tobias Brammer" userId="80a1e1bd-3b82-47a5-b259-da62a397db92" providerId="ADAL" clId="{4309C268-4C5E-44FD-9D52-D042135427E2}" dt="2023-11-16T12:12:06.078" v="744" actId="20577"/>
          <ac:spMkLst>
            <pc:docMk/>
            <pc:sldMk cId="160220345" sldId="333"/>
            <ac:spMk id="8" creationId="{9974A259-DC86-27AE-073B-E1B517848965}"/>
          </ac:spMkLst>
        </pc:spChg>
        <pc:picChg chg="mod">
          <ac:chgData name="Tobias Brammer" userId="80a1e1bd-3b82-47a5-b259-da62a397db92" providerId="ADAL" clId="{4309C268-4C5E-44FD-9D52-D042135427E2}" dt="2023-11-16T12:11:46.099" v="726" actId="14826"/>
          <ac:picMkLst>
            <pc:docMk/>
            <pc:sldMk cId="160220345" sldId="333"/>
            <ac:picMk id="12" creationId="{BC45735F-E063-4678-D02A-CBB56F461006}"/>
          </ac:picMkLst>
        </pc:picChg>
      </pc:sldChg>
      <pc:sldChg chg="modSp add del mod">
        <pc:chgData name="Tobias Brammer" userId="80a1e1bd-3b82-47a5-b259-da62a397db92" providerId="ADAL" clId="{4309C268-4C5E-44FD-9D52-D042135427E2}" dt="2023-11-16T12:22:48.495" v="1390" actId="47"/>
        <pc:sldMkLst>
          <pc:docMk/>
          <pc:sldMk cId="2884824692" sldId="334"/>
        </pc:sldMkLst>
        <pc:spChg chg="mod">
          <ac:chgData name="Tobias Brammer" userId="80a1e1bd-3b82-47a5-b259-da62a397db92" providerId="ADAL" clId="{4309C268-4C5E-44FD-9D52-D042135427E2}" dt="2023-11-16T12:16:52.421" v="799" actId="948"/>
          <ac:spMkLst>
            <pc:docMk/>
            <pc:sldMk cId="2884824692" sldId="334"/>
            <ac:spMk id="2" creationId="{F7A7B11F-5560-4450-B29C-AA36EE47DBD5}"/>
          </ac:spMkLst>
        </pc:spChg>
        <pc:spChg chg="mod">
          <ac:chgData name="Tobias Brammer" userId="80a1e1bd-3b82-47a5-b259-da62a397db92" providerId="ADAL" clId="{4309C268-4C5E-44FD-9D52-D042135427E2}" dt="2023-11-16T12:22:07.625" v="1370" actId="20577"/>
          <ac:spMkLst>
            <pc:docMk/>
            <pc:sldMk cId="2884824692" sldId="334"/>
            <ac:spMk id="8" creationId="{9974A259-DC86-27AE-073B-E1B517848965}"/>
          </ac:spMkLst>
        </pc:spChg>
        <pc:graphicFrameChg chg="mod">
          <ac:chgData name="Tobias Brammer" userId="80a1e1bd-3b82-47a5-b259-da62a397db92" providerId="ADAL" clId="{4309C268-4C5E-44FD-9D52-D042135427E2}" dt="2023-11-16T12:16:52.432" v="803"/>
          <ac:graphicFrameMkLst>
            <pc:docMk/>
            <pc:sldMk cId="2884824692" sldId="334"/>
            <ac:graphicFrameMk id="4" creationId="{79C05AFC-9555-D40C-AD9D-3E13BD0A4FC2}"/>
          </ac:graphicFrameMkLst>
        </pc:graphicFrameChg>
        <pc:picChg chg="mod">
          <ac:chgData name="Tobias Brammer" userId="80a1e1bd-3b82-47a5-b259-da62a397db92" providerId="ADAL" clId="{4309C268-4C5E-44FD-9D52-D042135427E2}" dt="2023-11-16T12:17:24.341" v="880" actId="14826"/>
          <ac:picMkLst>
            <pc:docMk/>
            <pc:sldMk cId="2884824692" sldId="334"/>
            <ac:picMk id="12" creationId="{BC45735F-E063-4678-D02A-CBB56F461006}"/>
          </ac:picMkLst>
        </pc:picChg>
      </pc:sldChg>
      <pc:sldChg chg="modSp add mod">
        <pc:chgData name="Tobias Brammer" userId="80a1e1bd-3b82-47a5-b259-da62a397db92" providerId="ADAL" clId="{4309C268-4C5E-44FD-9D52-D042135427E2}" dt="2023-11-16T12:22:33.820" v="1389" actId="20577"/>
        <pc:sldMkLst>
          <pc:docMk/>
          <pc:sldMk cId="2191927288" sldId="335"/>
        </pc:sldMkLst>
        <pc:spChg chg="mod">
          <ac:chgData name="Tobias Brammer" userId="80a1e1bd-3b82-47a5-b259-da62a397db92" providerId="ADAL" clId="{4309C268-4C5E-44FD-9D52-D042135427E2}" dt="2023-11-16T12:22:33.820" v="1389" actId="20577"/>
          <ac:spMkLst>
            <pc:docMk/>
            <pc:sldMk cId="2191927288" sldId="335"/>
            <ac:spMk id="8" creationId="{9974A259-DC86-27AE-073B-E1B517848965}"/>
          </ac:spMkLst>
        </pc:spChg>
      </pc:sldChg>
      <pc:sldChg chg="delSp modSp add del mod ord">
        <pc:chgData name="Tobias Brammer" userId="80a1e1bd-3b82-47a5-b259-da62a397db92" providerId="ADAL" clId="{4309C268-4C5E-44FD-9D52-D042135427E2}" dt="2023-11-16T13:27:02.165" v="1955" actId="47"/>
        <pc:sldMkLst>
          <pc:docMk/>
          <pc:sldMk cId="1467067792" sldId="336"/>
        </pc:sldMkLst>
        <pc:spChg chg="mod">
          <ac:chgData name="Tobias Brammer" userId="80a1e1bd-3b82-47a5-b259-da62a397db92" providerId="ADAL" clId="{4309C268-4C5E-44FD-9D52-D042135427E2}" dt="2023-11-16T12:23:51.028" v="1425" actId="948"/>
          <ac:spMkLst>
            <pc:docMk/>
            <pc:sldMk cId="1467067792" sldId="336"/>
            <ac:spMk id="2" creationId="{F7A7B11F-5560-4450-B29C-AA36EE47DBD5}"/>
          </ac:spMkLst>
        </pc:spChg>
        <pc:spChg chg="mod">
          <ac:chgData name="Tobias Brammer" userId="80a1e1bd-3b82-47a5-b259-da62a397db92" providerId="ADAL" clId="{4309C268-4C5E-44FD-9D52-D042135427E2}" dt="2023-11-16T12:25:31.912" v="1567" actId="20577"/>
          <ac:spMkLst>
            <pc:docMk/>
            <pc:sldMk cId="1467067792" sldId="336"/>
            <ac:spMk id="8" creationId="{9974A259-DC86-27AE-073B-E1B517848965}"/>
          </ac:spMkLst>
        </pc:spChg>
        <pc:graphicFrameChg chg="mod">
          <ac:chgData name="Tobias Brammer" userId="80a1e1bd-3b82-47a5-b259-da62a397db92" providerId="ADAL" clId="{4309C268-4C5E-44FD-9D52-D042135427E2}" dt="2023-11-16T12:23:51.038" v="1429"/>
          <ac:graphicFrameMkLst>
            <pc:docMk/>
            <pc:sldMk cId="1467067792" sldId="336"/>
            <ac:graphicFrameMk id="4" creationId="{79C05AFC-9555-D40C-AD9D-3E13BD0A4FC2}"/>
          </ac:graphicFrameMkLst>
        </pc:graphicFrameChg>
        <pc:picChg chg="del mod replST">
          <ac:chgData name="Tobias Brammer" userId="80a1e1bd-3b82-47a5-b259-da62a397db92" providerId="ADAL" clId="{4309C268-4C5E-44FD-9D52-D042135427E2}" dt="2023-11-16T12:26:19.349" v="1594" actId="21"/>
          <ac:picMkLst>
            <pc:docMk/>
            <pc:sldMk cId="1467067792" sldId="336"/>
            <ac:picMk id="5" creationId="{84D7B3FD-E68C-D976-B120-BBFBAA8FD31D}"/>
          </ac:picMkLst>
        </pc:picChg>
        <pc:picChg chg="del mod">
          <ac:chgData name="Tobias Brammer" userId="80a1e1bd-3b82-47a5-b259-da62a397db92" providerId="ADAL" clId="{4309C268-4C5E-44FD-9D52-D042135427E2}" dt="2023-11-16T13:26:53.898" v="1954" actId="478"/>
          <ac:picMkLst>
            <pc:docMk/>
            <pc:sldMk cId="1467067792" sldId="336"/>
            <ac:picMk id="12" creationId="{BC45735F-E063-4678-D02A-CBB56F461006}"/>
          </ac:picMkLst>
        </pc:picChg>
      </pc:sldChg>
    </pc:docChg>
  </pc:docChgLst>
  <pc:docChgLst>
    <pc:chgData name="Tobias Brammer" userId="80a1e1bd-3b82-47a5-b259-da62a397db92" providerId="ADAL" clId="{1E3A7C41-47CF-4BFD-8C66-533AAAACACA8}"/>
    <pc:docChg chg="undo custSel addSld delSld modSld sldOrd modMainMaster modSection replTag modNotesMaster modHandout">
      <pc:chgData name="Tobias Brammer" userId="80a1e1bd-3b82-47a5-b259-da62a397db92" providerId="ADAL" clId="{1E3A7C41-47CF-4BFD-8C66-533AAAACACA8}" dt="2023-03-30T05:58:54.259" v="10631" actId="20577"/>
      <pc:docMkLst>
        <pc:docMk/>
      </pc:docMkLst>
      <pc:sldChg chg="delSp modSp del mod ord modNotes">
        <pc:chgData name="Tobias Brammer" userId="80a1e1bd-3b82-47a5-b259-da62a397db92" providerId="ADAL" clId="{1E3A7C41-47CF-4BFD-8C66-533AAAACACA8}" dt="2023-03-07T06:51:25.444" v="8891" actId="47"/>
        <pc:sldMkLst>
          <pc:docMk/>
          <pc:sldMk cId="1005211075" sldId="262"/>
        </pc:sldMkLst>
        <pc:spChg chg="mod">
          <ac:chgData name="Tobias Brammer" userId="80a1e1bd-3b82-47a5-b259-da62a397db92" providerId="ADAL" clId="{1E3A7C41-47CF-4BFD-8C66-533AAAACACA8}" dt="2023-02-28T05:57:37.396" v="1586" actId="948"/>
          <ac:spMkLst>
            <pc:docMk/>
            <pc:sldMk cId="1005211075" sldId="262"/>
            <ac:spMk id="2" creationId="{2A4596F9-FF12-4BF0-8843-C701E1DB0BAB}"/>
          </ac:spMkLst>
        </pc:spChg>
        <pc:spChg chg="del mod modVis">
          <ac:chgData name="Tobias Brammer" userId="80a1e1bd-3b82-47a5-b259-da62a397db92" providerId="ADAL" clId="{1E3A7C41-47CF-4BFD-8C66-533AAAACACA8}" dt="2023-02-28T05:57:37.796" v="1870" actId="478"/>
          <ac:spMkLst>
            <pc:docMk/>
            <pc:sldMk cId="1005211075" sldId="262"/>
            <ac:spMk id="3" creationId="{6D139B86-1881-A8BB-D7B5-BABBA0505B95}"/>
          </ac:spMkLst>
        </pc:spChg>
        <pc:spChg chg="mod">
          <ac:chgData name="Tobias Brammer" userId="80a1e1bd-3b82-47a5-b259-da62a397db92" providerId="ADAL" clId="{1E3A7C41-47CF-4BFD-8C66-533AAAACACA8}" dt="2023-02-28T05:57:36.268" v="576" actId="20577"/>
          <ac:spMkLst>
            <pc:docMk/>
            <pc:sldMk cId="1005211075" sldId="262"/>
            <ac:spMk id="8" creationId="{F97827C5-D366-43A9-BC56-60449466C60F}"/>
          </ac:spMkLst>
        </pc:spChg>
        <pc:graphicFrameChg chg="mod ord modVis replST">
          <ac:chgData name="Tobias Brammer" userId="80a1e1bd-3b82-47a5-b259-da62a397db92" providerId="ADAL" clId="{1E3A7C41-47CF-4BFD-8C66-533AAAACACA8}" dt="2023-02-28T05:57:37.827" v="1878" actId="1076"/>
          <ac:graphicFrameMkLst>
            <pc:docMk/>
            <pc:sldMk cId="1005211075" sldId="262"/>
            <ac:graphicFrameMk id="4" creationId="{7EDD2181-28F2-62F9-AD4A-846375F1E999}"/>
          </ac:graphicFrameMkLst>
        </pc:graphicFrameChg>
      </pc:sldChg>
      <pc:sldChg chg="addSp delSp modSp del mod ord modNotes">
        <pc:chgData name="Tobias Brammer" userId="80a1e1bd-3b82-47a5-b259-da62a397db92" providerId="ADAL" clId="{1E3A7C41-47CF-4BFD-8C66-533AAAACACA8}" dt="2023-02-28T07:04:06.108" v="6348" actId="2696"/>
        <pc:sldMkLst>
          <pc:docMk/>
          <pc:sldMk cId="2416407837" sldId="270"/>
        </pc:sldMkLst>
        <pc:spChg chg="mod">
          <ac:chgData name="Tobias Brammer" userId="80a1e1bd-3b82-47a5-b259-da62a397db92" providerId="ADAL" clId="{1E3A7C41-47CF-4BFD-8C66-533AAAACACA8}" dt="2023-02-28T06:09:18.946" v="3422" actId="20577"/>
          <ac:spMkLst>
            <pc:docMk/>
            <pc:sldMk cId="2416407837" sldId="270"/>
            <ac:spMk id="2" creationId="{DB8BCC98-68C8-4EB4-853E-B372C26EBCFF}"/>
          </ac:spMkLst>
        </pc:spChg>
        <pc:spChg chg="del mod modVis">
          <ac:chgData name="Tobias Brammer" userId="80a1e1bd-3b82-47a5-b259-da62a397db92" providerId="ADAL" clId="{1E3A7C41-47CF-4BFD-8C66-533AAAACACA8}" dt="2023-02-28T05:57:37.780" v="1860" actId="478"/>
          <ac:spMkLst>
            <pc:docMk/>
            <pc:sldMk cId="2416407837" sldId="270"/>
            <ac:spMk id="3" creationId="{3E029A14-FE81-B591-2A18-9B69301BB320}"/>
          </ac:spMkLst>
        </pc:spChg>
        <pc:spChg chg="del">
          <ac:chgData name="Tobias Brammer" userId="80a1e1bd-3b82-47a5-b259-da62a397db92" providerId="ADAL" clId="{1E3A7C41-47CF-4BFD-8C66-533AAAACACA8}" dt="2023-02-21T13:33:10.631" v="31" actId="478"/>
          <ac:spMkLst>
            <pc:docMk/>
            <pc:sldMk cId="2416407837" sldId="270"/>
            <ac:spMk id="4" creationId="{52BB0FB5-3FC8-4D76-9569-B90FAFC16986}"/>
          </ac:spMkLst>
        </pc:spChg>
        <pc:spChg chg="add del mod">
          <ac:chgData name="Tobias Brammer" userId="80a1e1bd-3b82-47a5-b259-da62a397db92" providerId="ADAL" clId="{1E3A7C41-47CF-4BFD-8C66-533AAAACACA8}" dt="2023-02-28T06:09:19.479" v="3426"/>
          <ac:spMkLst>
            <pc:docMk/>
            <pc:sldMk cId="2416407837" sldId="270"/>
            <ac:spMk id="5" creationId="{6AA27CE0-BD28-73B1-1F94-7BFE83D4E410}"/>
          </ac:spMkLst>
        </pc:spChg>
        <pc:spChg chg="mod">
          <ac:chgData name="Tobias Brammer" userId="80a1e1bd-3b82-47a5-b259-da62a397db92" providerId="ADAL" clId="{1E3A7C41-47CF-4BFD-8C66-533AAAACACA8}" dt="2023-02-28T05:57:36.284" v="586" actId="947"/>
          <ac:spMkLst>
            <pc:docMk/>
            <pc:sldMk cId="2416407837" sldId="270"/>
            <ac:spMk id="6" creationId="{C946590A-DCFA-480E-9973-032781667CFD}"/>
          </ac:spMkLst>
        </pc:spChg>
        <pc:spChg chg="mod">
          <ac:chgData name="Tobias Brammer" userId="80a1e1bd-3b82-47a5-b259-da62a397db92" providerId="ADAL" clId="{1E3A7C41-47CF-4BFD-8C66-533AAAACACA8}" dt="2023-02-28T05:57:36.284" v="588" actId="947"/>
          <ac:spMkLst>
            <pc:docMk/>
            <pc:sldMk cId="2416407837" sldId="270"/>
            <ac:spMk id="7" creationId="{BB313780-1FD1-47D9-8FAE-3FEDD5BED7B1}"/>
          </ac:spMkLst>
        </pc:spChg>
        <pc:spChg chg="mod">
          <ac:chgData name="Tobias Brammer" userId="80a1e1bd-3b82-47a5-b259-da62a397db92" providerId="ADAL" clId="{1E3A7C41-47CF-4BFD-8C66-533AAAACACA8}" dt="2023-02-28T05:57:36.284" v="590" actId="947"/>
          <ac:spMkLst>
            <pc:docMk/>
            <pc:sldMk cId="2416407837" sldId="270"/>
            <ac:spMk id="8" creationId="{A26BD07B-B36A-46BD-8B09-8347D40D54E4}"/>
          </ac:spMkLst>
        </pc:spChg>
        <pc:spChg chg="mod">
          <ac:chgData name="Tobias Brammer" userId="80a1e1bd-3b82-47a5-b259-da62a397db92" providerId="ADAL" clId="{1E3A7C41-47CF-4BFD-8C66-533AAAACACA8}" dt="2023-02-28T05:57:36.284" v="592" actId="947"/>
          <ac:spMkLst>
            <pc:docMk/>
            <pc:sldMk cId="2416407837" sldId="270"/>
            <ac:spMk id="9" creationId="{7A55C507-1CA4-403F-85AA-068A599400B3}"/>
          </ac:spMkLst>
        </pc:spChg>
        <pc:spChg chg="mod">
          <ac:chgData name="Tobias Brammer" userId="80a1e1bd-3b82-47a5-b259-da62a397db92" providerId="ADAL" clId="{1E3A7C41-47CF-4BFD-8C66-533AAAACACA8}" dt="2023-02-28T05:57:36.284" v="594" actId="947"/>
          <ac:spMkLst>
            <pc:docMk/>
            <pc:sldMk cId="2416407837" sldId="270"/>
            <ac:spMk id="10" creationId="{FCC3E6C0-5D07-41B1-BF2D-D07463968082}"/>
          </ac:spMkLst>
        </pc:spChg>
        <pc:spChg chg="mod">
          <ac:chgData name="Tobias Brammer" userId="80a1e1bd-3b82-47a5-b259-da62a397db92" providerId="ADAL" clId="{1E3A7C41-47CF-4BFD-8C66-533AAAACACA8}" dt="2023-02-28T05:57:36.284" v="596" actId="947"/>
          <ac:spMkLst>
            <pc:docMk/>
            <pc:sldMk cId="2416407837" sldId="270"/>
            <ac:spMk id="11" creationId="{F2D1ABE1-5DEA-4BC7-A383-C87624EBC8FE}"/>
          </ac:spMkLst>
        </pc:spChg>
        <pc:spChg chg="mod">
          <ac:chgData name="Tobias Brammer" userId="80a1e1bd-3b82-47a5-b259-da62a397db92" providerId="ADAL" clId="{1E3A7C41-47CF-4BFD-8C66-533AAAACACA8}" dt="2023-02-28T05:57:36.284" v="598" actId="947"/>
          <ac:spMkLst>
            <pc:docMk/>
            <pc:sldMk cId="2416407837" sldId="270"/>
            <ac:spMk id="12" creationId="{2E5DBFB2-6254-4D85-BA12-9421EF5CB27B}"/>
          </ac:spMkLst>
        </pc:spChg>
        <pc:spChg chg="mod">
          <ac:chgData name="Tobias Brammer" userId="80a1e1bd-3b82-47a5-b259-da62a397db92" providerId="ADAL" clId="{1E3A7C41-47CF-4BFD-8C66-533AAAACACA8}" dt="2023-02-28T05:57:36.284" v="600" actId="947"/>
          <ac:spMkLst>
            <pc:docMk/>
            <pc:sldMk cId="2416407837" sldId="270"/>
            <ac:spMk id="13" creationId="{E13D7B49-6DD3-43C3-9A2E-E2BA90A74A41}"/>
          </ac:spMkLst>
        </pc:spChg>
        <pc:graphicFrameChg chg="mod ord modVis replST">
          <ac:chgData name="Tobias Brammer" userId="80a1e1bd-3b82-47a5-b259-da62a397db92" providerId="ADAL" clId="{1E3A7C41-47CF-4BFD-8C66-533AAAACACA8}" dt="2023-02-28T06:09:19.479" v="3426"/>
          <ac:graphicFrameMkLst>
            <pc:docMk/>
            <pc:sldMk cId="2416407837" sldId="270"/>
            <ac:graphicFrameMk id="4" creationId="{DA4F5744-822E-272D-9EB9-E4CFFB864E67}"/>
          </ac:graphicFrameMkLst>
        </pc:graphicFrameChg>
      </pc:sldChg>
      <pc:sldChg chg="addSp delSp modSp mod ord modNotes">
        <pc:chgData name="Tobias Brammer" userId="80a1e1bd-3b82-47a5-b259-da62a397db92" providerId="ADAL" clId="{1E3A7C41-47CF-4BFD-8C66-533AAAACACA8}" dt="2023-03-07T06:54:13.648" v="8928"/>
        <pc:sldMkLst>
          <pc:docMk/>
          <pc:sldMk cId="2641621532" sldId="281"/>
        </pc:sldMkLst>
        <pc:spChg chg="mod">
          <ac:chgData name="Tobias Brammer" userId="80a1e1bd-3b82-47a5-b259-da62a397db92" providerId="ADAL" clId="{1E3A7C41-47CF-4BFD-8C66-533AAAACACA8}" dt="2023-03-07T06:54:13.645" v="8924" actId="948"/>
          <ac:spMkLst>
            <pc:docMk/>
            <pc:sldMk cId="2641621532" sldId="281"/>
            <ac:spMk id="2" creationId="{3C6F285B-6BE8-47BE-BAD4-8ACEEFC175A8}"/>
          </ac:spMkLst>
        </pc:spChg>
        <pc:spChg chg="del">
          <ac:chgData name="Tobias Brammer" userId="80a1e1bd-3b82-47a5-b259-da62a397db92" providerId="ADAL" clId="{1E3A7C41-47CF-4BFD-8C66-533AAAACACA8}" dt="2023-02-21T13:33:06.886" v="30" actId="478"/>
          <ac:spMkLst>
            <pc:docMk/>
            <pc:sldMk cId="2641621532" sldId="281"/>
            <ac:spMk id="4" creationId="{EBB902A7-6EFB-4DB5-B7D9-D27AE5B7B1F6}"/>
          </ac:spMkLst>
        </pc:spChg>
        <pc:spChg chg="mod">
          <ac:chgData name="Tobias Brammer" userId="80a1e1bd-3b82-47a5-b259-da62a397db92" providerId="ADAL" clId="{1E3A7C41-47CF-4BFD-8C66-533AAAACACA8}" dt="2023-02-28T05:57:36.253" v="548" actId="947"/>
          <ac:spMkLst>
            <pc:docMk/>
            <pc:sldMk cId="2641621532" sldId="281"/>
            <ac:spMk id="6" creationId="{CDC222EA-31E5-4543-973D-6351289EEE35}"/>
          </ac:spMkLst>
        </pc:spChg>
        <pc:spChg chg="mod">
          <ac:chgData name="Tobias Brammer" userId="80a1e1bd-3b82-47a5-b259-da62a397db92" providerId="ADAL" clId="{1E3A7C41-47CF-4BFD-8C66-533AAAACACA8}" dt="2023-02-28T05:57:36.253" v="550" actId="947"/>
          <ac:spMkLst>
            <pc:docMk/>
            <pc:sldMk cId="2641621532" sldId="281"/>
            <ac:spMk id="7" creationId="{F787AB7F-95DA-4686-8C4E-D8E93F97EFAD}"/>
          </ac:spMkLst>
        </pc:spChg>
        <pc:spChg chg="mod">
          <ac:chgData name="Tobias Brammer" userId="80a1e1bd-3b82-47a5-b259-da62a397db92" providerId="ADAL" clId="{1E3A7C41-47CF-4BFD-8C66-533AAAACACA8}" dt="2023-02-28T07:05:37.784" v="6396" actId="20577"/>
          <ac:spMkLst>
            <pc:docMk/>
            <pc:sldMk cId="2641621532" sldId="281"/>
            <ac:spMk id="8" creationId="{8E492FCB-C2C0-467D-A668-B1FD59DC4F32}"/>
          </ac:spMkLst>
        </pc:spChg>
        <pc:spChg chg="mod">
          <ac:chgData name="Tobias Brammer" userId="80a1e1bd-3b82-47a5-b259-da62a397db92" providerId="ADAL" clId="{1E3A7C41-47CF-4BFD-8C66-533AAAACACA8}" dt="2023-02-28T05:57:36.253" v="554" actId="947"/>
          <ac:spMkLst>
            <pc:docMk/>
            <pc:sldMk cId="2641621532" sldId="281"/>
            <ac:spMk id="9" creationId="{8140DF04-B4DC-4986-9C6D-DDE15FD1CA31}"/>
          </ac:spMkLst>
        </pc:spChg>
        <pc:spChg chg="mod">
          <ac:chgData name="Tobias Brammer" userId="80a1e1bd-3b82-47a5-b259-da62a397db92" providerId="ADAL" clId="{1E3A7C41-47CF-4BFD-8C66-533AAAACACA8}" dt="2023-02-28T06:07:37.581" v="3102" actId="20577"/>
          <ac:spMkLst>
            <pc:docMk/>
            <pc:sldMk cId="2641621532" sldId="281"/>
            <ac:spMk id="10" creationId="{CBA4467F-4AF6-4FDA-A3A1-6FFF686B5694}"/>
          </ac:spMkLst>
        </pc:spChg>
        <pc:spChg chg="mod">
          <ac:chgData name="Tobias Brammer" userId="80a1e1bd-3b82-47a5-b259-da62a397db92" providerId="ADAL" clId="{1E3A7C41-47CF-4BFD-8C66-533AAAACACA8}" dt="2023-02-28T05:57:36.253" v="558" actId="947"/>
          <ac:spMkLst>
            <pc:docMk/>
            <pc:sldMk cId="2641621532" sldId="281"/>
            <ac:spMk id="11" creationId="{8EF3D609-41B5-4A56-8942-7DC08C4DC25A}"/>
          </ac:spMkLst>
        </pc:spChg>
        <pc:spChg chg="mod">
          <ac:chgData name="Tobias Brammer" userId="80a1e1bd-3b82-47a5-b259-da62a397db92" providerId="ADAL" clId="{1E3A7C41-47CF-4BFD-8C66-533AAAACACA8}" dt="2023-02-28T06:07:42.828" v="3106" actId="20577"/>
          <ac:spMkLst>
            <pc:docMk/>
            <pc:sldMk cId="2641621532" sldId="281"/>
            <ac:spMk id="12" creationId="{702BF8D8-1F1E-4939-B5E8-A6D1C6691326}"/>
          </ac:spMkLst>
        </pc:spChg>
        <pc:spChg chg="mod">
          <ac:chgData name="Tobias Brammer" userId="80a1e1bd-3b82-47a5-b259-da62a397db92" providerId="ADAL" clId="{1E3A7C41-47CF-4BFD-8C66-533AAAACACA8}" dt="2023-02-28T05:57:36.268" v="562" actId="947"/>
          <ac:spMkLst>
            <pc:docMk/>
            <pc:sldMk cId="2641621532" sldId="281"/>
            <ac:spMk id="13" creationId="{50C5CCBA-0874-4BEE-99C2-CC4082D3A1FF}"/>
          </ac:spMkLst>
        </pc:spChg>
        <pc:spChg chg="add del mod">
          <ac:chgData name="Tobias Brammer" userId="80a1e1bd-3b82-47a5-b259-da62a397db92" providerId="ADAL" clId="{1E3A7C41-47CF-4BFD-8C66-533AAAACACA8}" dt="2023-02-28T07:03:50.420" v="6345" actId="478"/>
          <ac:spMkLst>
            <pc:docMk/>
            <pc:sldMk cId="2641621532" sldId="281"/>
            <ac:spMk id="14" creationId="{E1A4E241-A20B-4422-B08B-8F6558C9C741}"/>
          </ac:spMkLst>
        </pc:spChg>
        <pc:spChg chg="del mod">
          <ac:chgData name="Tobias Brammer" userId="80a1e1bd-3b82-47a5-b259-da62a397db92" providerId="ADAL" clId="{1E3A7C41-47CF-4BFD-8C66-533AAAACACA8}" dt="2023-02-28T07:03:52.350" v="6346" actId="478"/>
          <ac:spMkLst>
            <pc:docMk/>
            <pc:sldMk cId="2641621532" sldId="281"/>
            <ac:spMk id="15" creationId="{07E887EC-95BD-446F-AA42-026332C0EADF}"/>
          </ac:spMkLst>
        </pc:spChg>
        <pc:graphicFrameChg chg="add mod ord modVis replST">
          <ac:chgData name="Tobias Brammer" userId="80a1e1bd-3b82-47a5-b259-da62a397db92" providerId="ADAL" clId="{1E3A7C41-47CF-4BFD-8C66-533AAAACACA8}" dt="2023-03-07T06:54:13.648" v="8928"/>
          <ac:graphicFrameMkLst>
            <pc:docMk/>
            <pc:sldMk cId="2641621532" sldId="281"/>
            <ac:graphicFrameMk id="3" creationId="{AB86B848-EDE9-F4A9-108A-F58D243B51C5}"/>
          </ac:graphicFrameMkLst>
        </pc:graphicFrameChg>
      </pc:sldChg>
      <pc:sldChg chg="addSp delSp modSp mod modNotes">
        <pc:chgData name="Tobias Brammer" userId="80a1e1bd-3b82-47a5-b259-da62a397db92" providerId="ADAL" clId="{1E3A7C41-47CF-4BFD-8C66-533AAAACACA8}" dt="2023-03-02T06:39:57.001" v="6399" actId="20577"/>
        <pc:sldMkLst>
          <pc:docMk/>
          <pc:sldMk cId="1982481699" sldId="305"/>
        </pc:sldMkLst>
        <pc:spChg chg="add del mod modVis">
          <ac:chgData name="Tobias Brammer" userId="80a1e1bd-3b82-47a5-b259-da62a397db92" providerId="ADAL" clId="{1E3A7C41-47CF-4BFD-8C66-533AAAACACA8}" dt="2023-02-28T05:55:53.780" v="390"/>
          <ac:spMkLst>
            <pc:docMk/>
            <pc:sldMk cId="1982481699" sldId="305"/>
            <ac:spMk id="3" creationId="{857A203A-B8DE-B90C-EDF5-31329242FC13}"/>
          </ac:spMkLst>
        </pc:spChg>
        <pc:spChg chg="del mod modVis">
          <ac:chgData name="Tobias Brammer" userId="80a1e1bd-3b82-47a5-b259-da62a397db92" providerId="ADAL" clId="{1E3A7C41-47CF-4BFD-8C66-533AAAACACA8}" dt="2023-02-28T05:57:37.780" v="1857" actId="478"/>
          <ac:spMkLst>
            <pc:docMk/>
            <pc:sldMk cId="1982481699" sldId="305"/>
            <ac:spMk id="4" creationId="{0ECBD42B-5506-8B77-3BE7-D1844CA095BE}"/>
          </ac:spMkLst>
        </pc:spChg>
        <pc:spChg chg="mod">
          <ac:chgData name="Tobias Brammer" userId="80a1e1bd-3b82-47a5-b259-da62a397db92" providerId="ADAL" clId="{1E3A7C41-47CF-4BFD-8C66-533AAAACACA8}" dt="2023-03-02T06:39:57.001" v="6399" actId="20577"/>
          <ac:spMkLst>
            <pc:docMk/>
            <pc:sldMk cId="1982481699" sldId="305"/>
            <ac:spMk id="7" creationId="{0B924460-1A6C-4030-8DE0-387B74186E08}"/>
          </ac:spMkLst>
        </pc:spChg>
        <pc:spChg chg="mod">
          <ac:chgData name="Tobias Brammer" userId="80a1e1bd-3b82-47a5-b259-da62a397db92" providerId="ADAL" clId="{1E3A7C41-47CF-4BFD-8C66-533AAAACACA8}" dt="2023-02-28T05:57:36.253" v="544" actId="20577"/>
          <ac:spMkLst>
            <pc:docMk/>
            <pc:sldMk cId="1982481699" sldId="305"/>
            <ac:spMk id="8" creationId="{08D4D0AD-0A75-4D15-8D92-457BD4B8F7BE}"/>
          </ac:spMkLst>
        </pc:spChg>
        <pc:spChg chg="mod">
          <ac:chgData name="Tobias Brammer" userId="80a1e1bd-3b82-47a5-b259-da62a397db92" providerId="ADAL" clId="{1E3A7C41-47CF-4BFD-8C66-533AAAACACA8}" dt="2023-02-28T05:57:37.349" v="1512" actId="948"/>
          <ac:spMkLst>
            <pc:docMk/>
            <pc:sldMk cId="1982481699" sldId="305"/>
            <ac:spMk id="54" creationId="{80FB860F-3E3A-43EB-B273-14B2246A3D66}"/>
          </ac:spMkLst>
        </pc:spChg>
        <pc:graphicFrameChg chg="mod">
          <ac:chgData name="Tobias Brammer" userId="80a1e1bd-3b82-47a5-b259-da62a397db92" providerId="ADAL" clId="{1E3A7C41-47CF-4BFD-8C66-533AAAACACA8}" dt="2023-02-28T05:57:37.780" v="1858" actId="1076"/>
          <ac:graphicFrameMkLst>
            <pc:docMk/>
            <pc:sldMk cId="1982481699" sldId="305"/>
            <ac:graphicFrameMk id="2" creationId="{3C5B1A34-4CF2-0504-3BE2-26A1E21AF65D}"/>
          </ac:graphicFrameMkLst>
        </pc:graphicFrameChg>
      </pc:sldChg>
      <pc:sldChg chg="delSp modSp del mod modTransition modShow modNotes">
        <pc:chgData name="Tobias Brammer" userId="80a1e1bd-3b82-47a5-b259-da62a397db92" providerId="ADAL" clId="{1E3A7C41-47CF-4BFD-8C66-533AAAACACA8}" dt="2023-03-07T06:51:26.278" v="8892" actId="47"/>
        <pc:sldMkLst>
          <pc:docMk/>
          <pc:sldMk cId="3556110710" sldId="307"/>
        </pc:sldMkLst>
        <pc:spChg chg="mod">
          <ac:chgData name="Tobias Brammer" userId="80a1e1bd-3b82-47a5-b259-da62a397db92" providerId="ADAL" clId="{1E3A7C41-47CF-4BFD-8C66-533AAAACACA8}" dt="2023-02-28T05:57:37.411" v="1622" actId="948"/>
          <ac:spMkLst>
            <pc:docMk/>
            <pc:sldMk cId="3556110710" sldId="307"/>
            <ac:spMk id="2" creationId="{F7A7B11F-5560-4450-B29C-AA36EE47DBD5}"/>
          </ac:spMkLst>
        </pc:spChg>
        <pc:spChg chg="del mod modVis">
          <ac:chgData name="Tobias Brammer" userId="80a1e1bd-3b82-47a5-b259-da62a397db92" providerId="ADAL" clId="{1E3A7C41-47CF-4BFD-8C66-533AAAACACA8}" dt="2023-02-28T05:57:37.827" v="1879" actId="478"/>
          <ac:spMkLst>
            <pc:docMk/>
            <pc:sldMk cId="3556110710" sldId="307"/>
            <ac:spMk id="3" creationId="{FA3C389B-50E0-F2D8-8A1E-95EEA103AAFC}"/>
          </ac:spMkLst>
        </pc:spChg>
        <pc:spChg chg="mod">
          <ac:chgData name="Tobias Brammer" userId="80a1e1bd-3b82-47a5-b259-da62a397db92" providerId="ADAL" clId="{1E3A7C41-47CF-4BFD-8C66-533AAAACACA8}" dt="2023-02-28T05:57:36.268" v="582" actId="20577"/>
          <ac:spMkLst>
            <pc:docMk/>
            <pc:sldMk cId="3556110710" sldId="307"/>
            <ac:spMk id="6" creationId="{8FC4456C-8838-4F8B-8B1E-95CBD5B2E38B}"/>
          </ac:spMkLst>
        </pc:spChg>
        <pc:graphicFrameChg chg="mod ord modVis replST">
          <ac:chgData name="Tobias Brammer" userId="80a1e1bd-3b82-47a5-b259-da62a397db92" providerId="ADAL" clId="{1E3A7C41-47CF-4BFD-8C66-533AAAACACA8}" dt="2023-02-28T05:57:37.842" v="1887" actId="1076"/>
          <ac:graphicFrameMkLst>
            <pc:docMk/>
            <pc:sldMk cId="3556110710" sldId="307"/>
            <ac:graphicFrameMk id="4" creationId="{79C05AFC-9555-D40C-AD9D-3E13BD0A4FC2}"/>
          </ac:graphicFrameMkLst>
        </pc:graphicFrameChg>
      </pc:sldChg>
      <pc:sldChg chg="addSp modSp add mod ord modNotes">
        <pc:chgData name="Tobias Brammer" userId="80a1e1bd-3b82-47a5-b259-da62a397db92" providerId="ADAL" clId="{1E3A7C41-47CF-4BFD-8C66-533AAAACACA8}" dt="2023-03-08T18:48:53.556" v="9431" actId="20577"/>
        <pc:sldMkLst>
          <pc:docMk/>
          <pc:sldMk cId="2678748836" sldId="308"/>
        </pc:sldMkLst>
        <pc:spChg chg="mod">
          <ac:chgData name="Tobias Brammer" userId="80a1e1bd-3b82-47a5-b259-da62a397db92" providerId="ADAL" clId="{1E3A7C41-47CF-4BFD-8C66-533AAAACACA8}" dt="2023-02-28T05:57:37.380" v="1548" actId="948"/>
          <ac:spMkLst>
            <pc:docMk/>
            <pc:sldMk cId="2678748836" sldId="308"/>
            <ac:spMk id="2" creationId="{F7A7B11F-5560-4450-B29C-AA36EE47DBD5}"/>
          </ac:spMkLst>
        </pc:spChg>
        <pc:spChg chg="mod">
          <ac:chgData name="Tobias Brammer" userId="80a1e1bd-3b82-47a5-b259-da62a397db92" providerId="ADAL" clId="{1E3A7C41-47CF-4BFD-8C66-533AAAACACA8}" dt="2023-03-08T18:48:53.556" v="9431" actId="20577"/>
          <ac:spMkLst>
            <pc:docMk/>
            <pc:sldMk cId="2678748836" sldId="308"/>
            <ac:spMk id="6" creationId="{8FC4456C-8838-4F8B-8B1E-95CBD5B2E38B}"/>
          </ac:spMkLst>
        </pc:spChg>
        <pc:graphicFrameChg chg="add mod ord modVis replST">
          <ac:chgData name="Tobias Brammer" userId="80a1e1bd-3b82-47a5-b259-da62a397db92" providerId="ADAL" clId="{1E3A7C41-47CF-4BFD-8C66-533AAAACACA8}" dt="2023-02-28T05:57:37.780" v="1859" actId="1076"/>
          <ac:graphicFrameMkLst>
            <pc:docMk/>
            <pc:sldMk cId="2678748836" sldId="308"/>
            <ac:graphicFrameMk id="3" creationId="{C25CA449-E3EB-0DD4-6908-6F7AA75DB9C8}"/>
          </ac:graphicFrameMkLst>
        </pc:graphicFrameChg>
      </pc:sldChg>
      <pc:sldChg chg="addSp delSp modSp add mod ord">
        <pc:chgData name="Tobias Brammer" userId="80a1e1bd-3b82-47a5-b259-da62a397db92" providerId="ADAL" clId="{1E3A7C41-47CF-4BFD-8C66-533AAAACACA8}" dt="2023-03-30T05:58:54.259" v="10631" actId="20577"/>
        <pc:sldMkLst>
          <pc:docMk/>
          <pc:sldMk cId="2492524537" sldId="309"/>
        </pc:sldMkLst>
        <pc:spChg chg="mod">
          <ac:chgData name="Tobias Brammer" userId="80a1e1bd-3b82-47a5-b259-da62a397db92" providerId="ADAL" clId="{1E3A7C41-47CF-4BFD-8C66-533AAAACACA8}" dt="2023-02-28T06:08:00.168" v="3114" actId="948"/>
          <ac:spMkLst>
            <pc:docMk/>
            <pc:sldMk cId="2492524537" sldId="309"/>
            <ac:spMk id="2" creationId="{F7A7B11F-5560-4450-B29C-AA36EE47DBD5}"/>
          </ac:spMkLst>
        </pc:spChg>
        <pc:spChg chg="add del mod modVis">
          <ac:chgData name="Tobias Brammer" userId="80a1e1bd-3b82-47a5-b259-da62a397db92" providerId="ADAL" clId="{1E3A7C41-47CF-4BFD-8C66-533AAAACACA8}" dt="2023-02-28T06:08:00.199" v="3155"/>
          <ac:spMkLst>
            <pc:docMk/>
            <pc:sldMk cId="2492524537" sldId="309"/>
            <ac:spMk id="3" creationId="{74267DD0-600C-34A8-916D-28F360D85225}"/>
          </ac:spMkLst>
        </pc:spChg>
        <pc:spChg chg="add mod">
          <ac:chgData name="Tobias Brammer" userId="80a1e1bd-3b82-47a5-b259-da62a397db92" providerId="ADAL" clId="{1E3A7C41-47CF-4BFD-8C66-533AAAACACA8}" dt="2023-03-08T19:00:49.497" v="10374" actId="20577"/>
          <ac:spMkLst>
            <pc:docMk/>
            <pc:sldMk cId="2492524537" sldId="309"/>
            <ac:spMk id="3" creationId="{DBBA62F8-ABAB-0796-5D4F-277CA4383CB2}"/>
          </ac:spMkLst>
        </pc:spChg>
        <pc:spChg chg="add mod">
          <ac:chgData name="Tobias Brammer" userId="80a1e1bd-3b82-47a5-b259-da62a397db92" providerId="ADAL" clId="{1E3A7C41-47CF-4BFD-8C66-533AAAACACA8}" dt="2023-03-08T18:59:25.619" v="10267" actId="20577"/>
          <ac:spMkLst>
            <pc:docMk/>
            <pc:sldMk cId="2492524537" sldId="309"/>
            <ac:spMk id="5" creationId="{0256447C-D35F-4F86-D90B-E90F6B46AE7F}"/>
          </ac:spMkLst>
        </pc:spChg>
        <pc:spChg chg="mod">
          <ac:chgData name="Tobias Brammer" userId="80a1e1bd-3b82-47a5-b259-da62a397db92" providerId="ADAL" clId="{1E3A7C41-47CF-4BFD-8C66-533AAAACACA8}" dt="2023-03-30T05:58:54.259" v="10631" actId="20577"/>
          <ac:spMkLst>
            <pc:docMk/>
            <pc:sldMk cId="2492524537" sldId="309"/>
            <ac:spMk id="6" creationId="{8FC4456C-8838-4F8B-8B1E-95CBD5B2E38B}"/>
          </ac:spMkLst>
        </pc:spChg>
        <pc:graphicFrameChg chg="mod">
          <ac:chgData name="Tobias Brammer" userId="80a1e1bd-3b82-47a5-b259-da62a397db92" providerId="ADAL" clId="{1E3A7C41-47CF-4BFD-8C66-533AAAACACA8}" dt="2023-02-28T06:08:00.199" v="3157"/>
          <ac:graphicFrameMkLst>
            <pc:docMk/>
            <pc:sldMk cId="2492524537" sldId="309"/>
            <ac:graphicFrameMk id="4" creationId="{79C05AFC-9555-D40C-AD9D-3E13BD0A4FC2}"/>
          </ac:graphicFrameMkLst>
        </pc:graphicFrameChg>
      </pc:sldChg>
      <pc:sldChg chg="addSp delSp modSp add del mod ord">
        <pc:chgData name="Tobias Brammer" userId="80a1e1bd-3b82-47a5-b259-da62a397db92" providerId="ADAL" clId="{1E3A7C41-47CF-4BFD-8C66-533AAAACACA8}" dt="2023-02-28T06:36:57.276" v="5393" actId="47"/>
        <pc:sldMkLst>
          <pc:docMk/>
          <pc:sldMk cId="1870312031" sldId="310"/>
        </pc:sldMkLst>
        <pc:spChg chg="mod">
          <ac:chgData name="Tobias Brammer" userId="80a1e1bd-3b82-47a5-b259-da62a397db92" providerId="ADAL" clId="{1E3A7C41-47CF-4BFD-8C66-533AAAACACA8}" dt="2023-02-28T06:08:11.113" v="3182" actId="948"/>
          <ac:spMkLst>
            <pc:docMk/>
            <pc:sldMk cId="1870312031" sldId="310"/>
            <ac:spMk id="2" creationId="{F7A7B11F-5560-4450-B29C-AA36EE47DBD5}"/>
          </ac:spMkLst>
        </pc:spChg>
        <pc:spChg chg="add del mod modVis">
          <ac:chgData name="Tobias Brammer" userId="80a1e1bd-3b82-47a5-b259-da62a397db92" providerId="ADAL" clId="{1E3A7C41-47CF-4BFD-8C66-533AAAACACA8}" dt="2023-02-28T06:08:11.144" v="3223"/>
          <ac:spMkLst>
            <pc:docMk/>
            <pc:sldMk cId="1870312031" sldId="310"/>
            <ac:spMk id="3" creationId="{2B041E51-2461-474E-11BD-7A8AC81EE1E6}"/>
          </ac:spMkLst>
        </pc:spChg>
        <pc:graphicFrameChg chg="mod">
          <ac:chgData name="Tobias Brammer" userId="80a1e1bd-3b82-47a5-b259-da62a397db92" providerId="ADAL" clId="{1E3A7C41-47CF-4BFD-8C66-533AAAACACA8}" dt="2023-02-28T06:08:11.144" v="3225"/>
          <ac:graphicFrameMkLst>
            <pc:docMk/>
            <pc:sldMk cId="1870312031" sldId="310"/>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06:38.848" v="10486" actId="20577"/>
        <pc:sldMkLst>
          <pc:docMk/>
          <pc:sldMk cId="3090062221" sldId="311"/>
        </pc:sldMkLst>
        <pc:spChg chg="mod">
          <ac:chgData name="Tobias Brammer" userId="80a1e1bd-3b82-47a5-b259-da62a397db92" providerId="ADAL" clId="{1E3A7C41-47CF-4BFD-8C66-533AAAACACA8}" dt="2023-02-28T06:08:25.446" v="3243" actId="948"/>
          <ac:spMkLst>
            <pc:docMk/>
            <pc:sldMk cId="3090062221" sldId="311"/>
            <ac:spMk id="2" creationId="{F7A7B11F-5560-4450-B29C-AA36EE47DBD5}"/>
          </ac:spMkLst>
        </pc:spChg>
        <pc:spChg chg="add del mod modVis">
          <ac:chgData name="Tobias Brammer" userId="80a1e1bd-3b82-47a5-b259-da62a397db92" providerId="ADAL" clId="{1E3A7C41-47CF-4BFD-8C66-533AAAACACA8}" dt="2023-02-28T06:08:25.478" v="3284"/>
          <ac:spMkLst>
            <pc:docMk/>
            <pc:sldMk cId="3090062221" sldId="311"/>
            <ac:spMk id="3" creationId="{9C090687-E112-4A89-9E1F-84EC7C61D5BE}"/>
          </ac:spMkLst>
        </pc:spChg>
        <pc:spChg chg="mod">
          <ac:chgData name="Tobias Brammer" userId="80a1e1bd-3b82-47a5-b259-da62a397db92" providerId="ADAL" clId="{1E3A7C41-47CF-4BFD-8C66-533AAAACACA8}" dt="2023-03-08T19:06:38.848" v="10486" actId="20577"/>
          <ac:spMkLst>
            <pc:docMk/>
            <pc:sldMk cId="3090062221" sldId="311"/>
            <ac:spMk id="6" creationId="{8FC4456C-8838-4F8B-8B1E-95CBD5B2E38B}"/>
          </ac:spMkLst>
        </pc:spChg>
        <pc:spChg chg="add del mod">
          <ac:chgData name="Tobias Brammer" userId="80a1e1bd-3b82-47a5-b259-da62a397db92" providerId="ADAL" clId="{1E3A7C41-47CF-4BFD-8C66-533AAAACACA8}" dt="2023-03-07T06:34:15.626" v="8647" actId="478"/>
          <ac:spMkLst>
            <pc:docMk/>
            <pc:sldMk cId="3090062221" sldId="311"/>
            <ac:spMk id="7" creationId="{8278DBF7-FB37-80E4-88AD-07CAB4ADF21F}"/>
          </ac:spMkLst>
        </pc:spChg>
        <pc:grpChg chg="add del mod">
          <ac:chgData name="Tobias Brammer" userId="80a1e1bd-3b82-47a5-b259-da62a397db92" providerId="ADAL" clId="{1E3A7C41-47CF-4BFD-8C66-533AAAACACA8}" dt="2023-03-07T06:47:28.887" v="8863" actId="478"/>
          <ac:grpSpMkLst>
            <pc:docMk/>
            <pc:sldMk cId="3090062221" sldId="311"/>
            <ac:grpSpMk id="15" creationId="{84155CE7-CE7B-6794-3BDF-B45F6F41191A}"/>
          </ac:grpSpMkLst>
        </pc:grpChg>
        <pc:grpChg chg="add mod">
          <ac:chgData name="Tobias Brammer" userId="80a1e1bd-3b82-47a5-b259-da62a397db92" providerId="ADAL" clId="{1E3A7C41-47CF-4BFD-8C66-533AAAACACA8}" dt="2023-03-07T06:50:12.639" v="8889" actId="1076"/>
          <ac:grpSpMkLst>
            <pc:docMk/>
            <pc:sldMk cId="3090062221" sldId="311"/>
            <ac:grpSpMk id="23" creationId="{38285DF7-26A5-0B52-5D8A-45F17BF22272}"/>
          </ac:grpSpMkLst>
        </pc:grpChg>
        <pc:graphicFrameChg chg="add del mod">
          <ac:chgData name="Tobias Brammer" userId="80a1e1bd-3b82-47a5-b259-da62a397db92" providerId="ADAL" clId="{1E3A7C41-47CF-4BFD-8C66-533AAAACACA8}" dt="2023-03-07T06:34:10.475" v="8645" actId="478"/>
          <ac:graphicFrameMkLst>
            <pc:docMk/>
            <pc:sldMk cId="3090062221" sldId="311"/>
            <ac:graphicFrameMk id="3" creationId="{4029F1DC-CF89-2E77-8726-6C47BC99DC34}"/>
          </ac:graphicFrameMkLst>
        </pc:graphicFrameChg>
        <pc:graphicFrameChg chg="mod">
          <ac:chgData name="Tobias Brammer" userId="80a1e1bd-3b82-47a5-b259-da62a397db92" providerId="ADAL" clId="{1E3A7C41-47CF-4BFD-8C66-533AAAACACA8}" dt="2023-02-28T06:08:25.478" v="3286"/>
          <ac:graphicFrameMkLst>
            <pc:docMk/>
            <pc:sldMk cId="3090062221" sldId="311"/>
            <ac:graphicFrameMk id="4" creationId="{79C05AFC-9555-D40C-AD9D-3E13BD0A4FC2}"/>
          </ac:graphicFrameMkLst>
        </pc:graphicFrameChg>
        <pc:graphicFrameChg chg="add del mod">
          <ac:chgData name="Tobias Brammer" userId="80a1e1bd-3b82-47a5-b259-da62a397db92" providerId="ADAL" clId="{1E3A7C41-47CF-4BFD-8C66-533AAAACACA8}" dt="2023-03-07T06:41:31.357" v="8815" actId="478"/>
          <ac:graphicFrameMkLst>
            <pc:docMk/>
            <pc:sldMk cId="3090062221" sldId="311"/>
            <ac:graphicFrameMk id="5" creationId="{69CA4EEA-7C4D-39AC-AF26-DAD4D2D25EAA}"/>
          </ac:graphicFrameMkLst>
        </pc:graphicFrameChg>
        <pc:graphicFrameChg chg="add del mod">
          <ac:chgData name="Tobias Brammer" userId="80a1e1bd-3b82-47a5-b259-da62a397db92" providerId="ADAL" clId="{1E3A7C41-47CF-4BFD-8C66-533AAAACACA8}" dt="2023-03-07T06:43:06.125" v="8820" actId="478"/>
          <ac:graphicFrameMkLst>
            <pc:docMk/>
            <pc:sldMk cId="3090062221" sldId="311"/>
            <ac:graphicFrameMk id="8" creationId="{76CF5CBA-D2DD-34D9-FC91-845883B827DD}"/>
          </ac:graphicFrameMkLst>
        </pc:graphicFrameChg>
        <pc:graphicFrameChg chg="add mod topLvl">
          <ac:chgData name="Tobias Brammer" userId="80a1e1bd-3b82-47a5-b259-da62a397db92" providerId="ADAL" clId="{1E3A7C41-47CF-4BFD-8C66-533AAAACACA8}" dt="2023-03-07T06:50:07.426" v="8888" actId="164"/>
          <ac:graphicFrameMkLst>
            <pc:docMk/>
            <pc:sldMk cId="3090062221" sldId="311"/>
            <ac:graphicFrameMk id="9" creationId="{D1559444-CA7D-43C0-1DE4-369F3173A80D}"/>
          </ac:graphicFrameMkLst>
        </pc:graphicFrameChg>
        <pc:graphicFrameChg chg="add del mod">
          <ac:chgData name="Tobias Brammer" userId="80a1e1bd-3b82-47a5-b259-da62a397db92" providerId="ADAL" clId="{1E3A7C41-47CF-4BFD-8C66-533AAAACACA8}" dt="2023-03-07T06:43:43.116" v="8827" actId="478"/>
          <ac:graphicFrameMkLst>
            <pc:docMk/>
            <pc:sldMk cId="3090062221" sldId="311"/>
            <ac:graphicFrameMk id="10" creationId="{E4D27B5D-AD38-F131-8B5F-04A4DCA54B0E}"/>
          </ac:graphicFrameMkLst>
        </pc:graphicFrameChg>
        <pc:graphicFrameChg chg="add del mod">
          <ac:chgData name="Tobias Brammer" userId="80a1e1bd-3b82-47a5-b259-da62a397db92" providerId="ADAL" clId="{1E3A7C41-47CF-4BFD-8C66-533AAAACACA8}" dt="2023-03-07T06:48:14.574" v="8872" actId="478"/>
          <ac:graphicFrameMkLst>
            <pc:docMk/>
            <pc:sldMk cId="3090062221" sldId="311"/>
            <ac:graphicFrameMk id="11" creationId="{A1A9EEA3-CF70-0746-9268-52E5213F26CB}"/>
          </ac:graphicFrameMkLst>
        </pc:graphicFrameChg>
        <pc:graphicFrameChg chg="add del mod">
          <ac:chgData name="Tobias Brammer" userId="80a1e1bd-3b82-47a5-b259-da62a397db92" providerId="ADAL" clId="{1E3A7C41-47CF-4BFD-8C66-533AAAACACA8}" dt="2023-03-07T06:45:19.491" v="8843" actId="478"/>
          <ac:graphicFrameMkLst>
            <pc:docMk/>
            <pc:sldMk cId="3090062221" sldId="311"/>
            <ac:graphicFrameMk id="12" creationId="{02AA1BF8-7A1D-F5CE-9BBE-12AEED4DC507}"/>
          </ac:graphicFrameMkLst>
        </pc:graphicFrameChg>
        <pc:graphicFrameChg chg="add del mod">
          <ac:chgData name="Tobias Brammer" userId="80a1e1bd-3b82-47a5-b259-da62a397db92" providerId="ADAL" clId="{1E3A7C41-47CF-4BFD-8C66-533AAAACACA8}" dt="2023-03-07T06:47:27.571" v="8862" actId="478"/>
          <ac:graphicFrameMkLst>
            <pc:docMk/>
            <pc:sldMk cId="3090062221" sldId="311"/>
            <ac:graphicFrameMk id="13" creationId="{1CE26004-2BFF-7BE5-24C8-818375EE2B85}"/>
          </ac:graphicFrameMkLst>
        </pc:graphicFrameChg>
        <pc:graphicFrameChg chg="add del mod topLvl">
          <ac:chgData name="Tobias Brammer" userId="80a1e1bd-3b82-47a5-b259-da62a397db92" providerId="ADAL" clId="{1E3A7C41-47CF-4BFD-8C66-533AAAACACA8}" dt="2023-03-07T06:47:28.887" v="8863" actId="478"/>
          <ac:graphicFrameMkLst>
            <pc:docMk/>
            <pc:sldMk cId="3090062221" sldId="311"/>
            <ac:graphicFrameMk id="14" creationId="{B6AFF7B3-635D-977B-A15E-3CBEBB440DE1}"/>
          </ac:graphicFrameMkLst>
        </pc:graphicFrameChg>
        <pc:graphicFrameChg chg="add del mod">
          <ac:chgData name="Tobias Brammer" userId="80a1e1bd-3b82-47a5-b259-da62a397db92" providerId="ADAL" clId="{1E3A7C41-47CF-4BFD-8C66-533AAAACACA8}" dt="2023-03-07T06:47:39.724" v="8866" actId="478"/>
          <ac:graphicFrameMkLst>
            <pc:docMk/>
            <pc:sldMk cId="3090062221" sldId="311"/>
            <ac:graphicFrameMk id="16" creationId="{5A593BE0-B2EE-DAB8-481F-DCDE6EE6BDDC}"/>
          </ac:graphicFrameMkLst>
        </pc:graphicFrameChg>
        <pc:graphicFrameChg chg="add del mod">
          <ac:chgData name="Tobias Brammer" userId="80a1e1bd-3b82-47a5-b259-da62a397db92" providerId="ADAL" clId="{1E3A7C41-47CF-4BFD-8C66-533AAAACACA8}" dt="2023-03-07T06:48:12.431" v="8871" actId="478"/>
          <ac:graphicFrameMkLst>
            <pc:docMk/>
            <pc:sldMk cId="3090062221" sldId="311"/>
            <ac:graphicFrameMk id="17" creationId="{1DDDD90B-6559-B079-6BE8-C4E960EDAE96}"/>
          </ac:graphicFrameMkLst>
        </pc:graphicFrameChg>
        <pc:graphicFrameChg chg="add del mod">
          <ac:chgData name="Tobias Brammer" userId="80a1e1bd-3b82-47a5-b259-da62a397db92" providerId="ADAL" clId="{1E3A7C41-47CF-4BFD-8C66-533AAAACACA8}" dt="2023-03-07T06:49:46.341" v="8883" actId="478"/>
          <ac:graphicFrameMkLst>
            <pc:docMk/>
            <pc:sldMk cId="3090062221" sldId="311"/>
            <ac:graphicFrameMk id="18" creationId="{33D05F86-5BAA-0142-89B9-9E2CEAE67970}"/>
          </ac:graphicFrameMkLst>
        </pc:graphicFrameChg>
        <pc:graphicFrameChg chg="add del mod">
          <ac:chgData name="Tobias Brammer" userId="80a1e1bd-3b82-47a5-b259-da62a397db92" providerId="ADAL" clId="{1E3A7C41-47CF-4BFD-8C66-533AAAACACA8}" dt="2023-03-07T06:48:32.196" v="8877" actId="478"/>
          <ac:graphicFrameMkLst>
            <pc:docMk/>
            <pc:sldMk cId="3090062221" sldId="311"/>
            <ac:graphicFrameMk id="19" creationId="{DF13B7E3-4BFB-9AD3-67C8-C2755690E97C}"/>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1" creationId="{B305C757-02F7-D8E4-C352-87D04B022676}"/>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2" creationId="{047ADE68-9866-819C-37AA-A74696903866}"/>
          </ac:graphicFrameMkLst>
        </pc:graphicFrameChg>
      </pc:sldChg>
      <pc:sldChg chg="addSp delSp modSp add del mod">
        <pc:chgData name="Tobias Brammer" userId="80a1e1bd-3b82-47a5-b259-da62a397db92" providerId="ADAL" clId="{1E3A7C41-47CF-4BFD-8C66-533AAAACACA8}" dt="2023-02-28T07:03:58.310" v="6347" actId="47"/>
        <pc:sldMkLst>
          <pc:docMk/>
          <pc:sldMk cId="3983784041" sldId="312"/>
        </pc:sldMkLst>
        <pc:spChg chg="mod">
          <ac:chgData name="Tobias Brammer" userId="80a1e1bd-3b82-47a5-b259-da62a397db92" providerId="ADAL" clId="{1E3A7C41-47CF-4BFD-8C66-533AAAACACA8}" dt="2023-02-28T06:08:34.829" v="3355" actId="948"/>
          <ac:spMkLst>
            <pc:docMk/>
            <pc:sldMk cId="3983784041" sldId="312"/>
            <ac:spMk id="2" creationId="{F7A7B11F-5560-4450-B29C-AA36EE47DBD5}"/>
          </ac:spMkLst>
        </pc:spChg>
        <pc:spChg chg="add del mod modVis">
          <ac:chgData name="Tobias Brammer" userId="80a1e1bd-3b82-47a5-b259-da62a397db92" providerId="ADAL" clId="{1E3A7C41-47CF-4BFD-8C66-533AAAACACA8}" dt="2023-02-28T06:08:33.163" v="3345"/>
          <ac:spMkLst>
            <pc:docMk/>
            <pc:sldMk cId="3983784041" sldId="312"/>
            <ac:spMk id="3" creationId="{F8B4F4AA-BCEB-5DE4-1C73-79345D38E278}"/>
          </ac:spMkLst>
        </pc:spChg>
        <pc:spChg chg="add del mod modVis">
          <ac:chgData name="Tobias Brammer" userId="80a1e1bd-3b82-47a5-b259-da62a397db92" providerId="ADAL" clId="{1E3A7C41-47CF-4BFD-8C66-533AAAACACA8}" dt="2023-02-28T06:08:34.853" v="3396"/>
          <ac:spMkLst>
            <pc:docMk/>
            <pc:sldMk cId="3983784041" sldId="312"/>
            <ac:spMk id="5" creationId="{52F713EA-1C23-3329-F724-4EF753D60FDF}"/>
          </ac:spMkLst>
        </pc:spChg>
        <pc:graphicFrameChg chg="mod">
          <ac:chgData name="Tobias Brammer" userId="80a1e1bd-3b82-47a5-b259-da62a397db92" providerId="ADAL" clId="{1E3A7C41-47CF-4BFD-8C66-533AAAACACA8}" dt="2023-02-28T06:08:34.853" v="3398"/>
          <ac:graphicFrameMkLst>
            <pc:docMk/>
            <pc:sldMk cId="3983784041" sldId="312"/>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10:51.803" v="10575" actId="1076"/>
        <pc:sldMkLst>
          <pc:docMk/>
          <pc:sldMk cId="637503088" sldId="313"/>
        </pc:sldMkLst>
        <pc:spChg chg="add mod">
          <ac:chgData name="Tobias Brammer" userId="80a1e1bd-3b82-47a5-b259-da62a397db92" providerId="ADAL" clId="{1E3A7C41-47CF-4BFD-8C66-533AAAACACA8}" dt="2023-03-08T19:10:15.739" v="10493" actId="948"/>
          <ac:spMkLst>
            <pc:docMk/>
            <pc:sldMk cId="637503088" sldId="313"/>
            <ac:spMk id="2" creationId="{2BD5074D-D1F9-B9F7-DACD-88F097B4D5CD}"/>
          </ac:spMkLst>
        </pc:spChg>
        <pc:spChg chg="del">
          <ac:chgData name="Tobias Brammer" userId="80a1e1bd-3b82-47a5-b259-da62a397db92" providerId="ADAL" clId="{1E3A7C41-47CF-4BFD-8C66-533AAAACACA8}" dt="2023-02-28T06:09:31.016" v="3430" actId="478"/>
          <ac:spMkLst>
            <pc:docMk/>
            <pc:sldMk cId="637503088" sldId="313"/>
            <ac:spMk id="2" creationId="{DB8BCC98-68C8-4EB4-853E-B372C26EBCFF}"/>
          </ac:spMkLst>
        </pc:spChg>
        <pc:spChg chg="add del mod modVis">
          <ac:chgData name="Tobias Brammer" userId="80a1e1bd-3b82-47a5-b259-da62a397db92" providerId="ADAL" clId="{1E3A7C41-47CF-4BFD-8C66-533AAAACACA8}" dt="2023-03-08T19:10:15.790" v="10534"/>
          <ac:spMkLst>
            <pc:docMk/>
            <pc:sldMk cId="637503088" sldId="313"/>
            <ac:spMk id="3" creationId="{0F5689F9-FD71-5AD3-42C8-191A123C5D04}"/>
          </ac:spMkLst>
        </pc:spChg>
        <pc:spChg chg="add del mod modVis">
          <ac:chgData name="Tobias Brammer" userId="80a1e1bd-3b82-47a5-b259-da62a397db92" providerId="ADAL" clId="{1E3A7C41-47CF-4BFD-8C66-533AAAACACA8}" dt="2023-02-28T06:38:23.317" v="5481"/>
          <ac:spMkLst>
            <pc:docMk/>
            <pc:sldMk cId="637503088" sldId="313"/>
            <ac:spMk id="3" creationId="{D43D18D9-D257-D219-40AA-FF14A34E5430}"/>
          </ac:spMkLst>
        </pc:spChg>
        <pc:spChg chg="add del mod">
          <ac:chgData name="Tobias Brammer" userId="80a1e1bd-3b82-47a5-b259-da62a397db92" providerId="ADAL" clId="{1E3A7C41-47CF-4BFD-8C66-533AAAACACA8}" dt="2023-02-28T06:09:34.015" v="3436" actId="478"/>
          <ac:spMkLst>
            <pc:docMk/>
            <pc:sldMk cId="637503088" sldId="313"/>
            <ac:spMk id="5" creationId="{A767E049-01A4-F58F-37DE-B86C85FBF948}"/>
          </ac:spMkLst>
        </pc:spChg>
        <pc:spChg chg="add del mod modVis">
          <ac:chgData name="Tobias Brammer" userId="80a1e1bd-3b82-47a5-b259-da62a397db92" providerId="ADAL" clId="{1E3A7C41-47CF-4BFD-8C66-533AAAACACA8}" dt="2023-02-28T06:38:24.455" v="5526"/>
          <ac:spMkLst>
            <pc:docMk/>
            <pc:sldMk cId="637503088" sldId="313"/>
            <ac:spMk id="5" creationId="{F247C247-FB0E-37BD-6D41-0FAF76B1889D}"/>
          </ac:spMkLst>
        </pc:spChg>
        <pc:spChg chg="mod">
          <ac:chgData name="Tobias Brammer" userId="80a1e1bd-3b82-47a5-b259-da62a397db92" providerId="ADAL" clId="{1E3A7C41-47CF-4BFD-8C66-533AAAACACA8}" dt="2023-03-08T19:10:51.803" v="10575" actId="1076"/>
          <ac:spMkLst>
            <pc:docMk/>
            <pc:sldMk cId="637503088" sldId="313"/>
            <ac:spMk id="6" creationId="{C946590A-DCFA-480E-9973-032781667CFD}"/>
          </ac:spMkLst>
        </pc:spChg>
        <pc:spChg chg="mod">
          <ac:chgData name="Tobias Brammer" userId="80a1e1bd-3b82-47a5-b259-da62a397db92" providerId="ADAL" clId="{1E3A7C41-47CF-4BFD-8C66-533AAAACACA8}" dt="2023-03-08T19:10:51.803" v="10575" actId="1076"/>
          <ac:spMkLst>
            <pc:docMk/>
            <pc:sldMk cId="637503088" sldId="313"/>
            <ac:spMk id="7" creationId="{BB313780-1FD1-47D9-8FAE-3FEDD5BED7B1}"/>
          </ac:spMkLst>
        </pc:spChg>
        <pc:spChg chg="mod">
          <ac:chgData name="Tobias Brammer" userId="80a1e1bd-3b82-47a5-b259-da62a397db92" providerId="ADAL" clId="{1E3A7C41-47CF-4BFD-8C66-533AAAACACA8}" dt="2023-03-08T19:10:51.803" v="10575" actId="1076"/>
          <ac:spMkLst>
            <pc:docMk/>
            <pc:sldMk cId="637503088" sldId="313"/>
            <ac:spMk id="8" creationId="{A26BD07B-B36A-46BD-8B09-8347D40D54E4}"/>
          </ac:spMkLst>
        </pc:spChg>
        <pc:spChg chg="mod ord">
          <ac:chgData name="Tobias Brammer" userId="80a1e1bd-3b82-47a5-b259-da62a397db92" providerId="ADAL" clId="{1E3A7C41-47CF-4BFD-8C66-533AAAACACA8}" dt="2023-03-08T19:10:51.803" v="10575" actId="1076"/>
          <ac:spMkLst>
            <pc:docMk/>
            <pc:sldMk cId="637503088" sldId="313"/>
            <ac:spMk id="9" creationId="{7A55C507-1CA4-403F-85AA-068A599400B3}"/>
          </ac:spMkLst>
        </pc:spChg>
        <pc:spChg chg="mod ord">
          <ac:chgData name="Tobias Brammer" userId="80a1e1bd-3b82-47a5-b259-da62a397db92" providerId="ADAL" clId="{1E3A7C41-47CF-4BFD-8C66-533AAAACACA8}" dt="2023-03-08T19:10:51.803" v="10575" actId="1076"/>
          <ac:spMkLst>
            <pc:docMk/>
            <pc:sldMk cId="637503088" sldId="313"/>
            <ac:spMk id="10" creationId="{FCC3E6C0-5D07-41B1-BF2D-D07463968082}"/>
          </ac:spMkLst>
        </pc:spChg>
        <pc:spChg chg="mod">
          <ac:chgData name="Tobias Brammer" userId="80a1e1bd-3b82-47a5-b259-da62a397db92" providerId="ADAL" clId="{1E3A7C41-47CF-4BFD-8C66-533AAAACACA8}" dt="2023-03-08T19:10:51.803" v="10575" actId="1076"/>
          <ac:spMkLst>
            <pc:docMk/>
            <pc:sldMk cId="637503088" sldId="313"/>
            <ac:spMk id="11" creationId="{F2D1ABE1-5DEA-4BC7-A383-C87624EBC8FE}"/>
          </ac:spMkLst>
        </pc:spChg>
        <pc:spChg chg="mod">
          <ac:chgData name="Tobias Brammer" userId="80a1e1bd-3b82-47a5-b259-da62a397db92" providerId="ADAL" clId="{1E3A7C41-47CF-4BFD-8C66-533AAAACACA8}" dt="2023-03-08T19:10:51.803" v="10575" actId="1076"/>
          <ac:spMkLst>
            <pc:docMk/>
            <pc:sldMk cId="637503088" sldId="313"/>
            <ac:spMk id="12" creationId="{2E5DBFB2-6254-4D85-BA12-9421EF5CB27B}"/>
          </ac:spMkLst>
        </pc:spChg>
        <pc:spChg chg="mod">
          <ac:chgData name="Tobias Brammer" userId="80a1e1bd-3b82-47a5-b259-da62a397db92" providerId="ADAL" clId="{1E3A7C41-47CF-4BFD-8C66-533AAAACACA8}" dt="2023-03-08T19:10:51.803" v="10575" actId="1076"/>
          <ac:spMkLst>
            <pc:docMk/>
            <pc:sldMk cId="637503088" sldId="313"/>
            <ac:spMk id="13" creationId="{E13D7B49-6DD3-43C3-9A2E-E2BA90A74A41}"/>
          </ac:spMkLst>
        </pc:spChg>
        <pc:spChg chg="add del mod">
          <ac:chgData name="Tobias Brammer" userId="80a1e1bd-3b82-47a5-b259-da62a397db92" providerId="ADAL" clId="{1E3A7C41-47CF-4BFD-8C66-533AAAACACA8}" dt="2023-02-28T06:38:16.509" v="5416" actId="478"/>
          <ac:spMkLst>
            <pc:docMk/>
            <pc:sldMk cId="637503088" sldId="313"/>
            <ac:spMk id="14" creationId="{80CA6A1E-1230-5C19-ED2B-204E17C5782F}"/>
          </ac:spMkLst>
        </pc:spChg>
        <pc:spChg chg="add del mod modVis">
          <ac:chgData name="Tobias Brammer" userId="80a1e1bd-3b82-47a5-b259-da62a397db92" providerId="ADAL" clId="{1E3A7C41-47CF-4BFD-8C66-533AAAACACA8}" dt="2023-02-28T07:05:34.174" v="6393"/>
          <ac:spMkLst>
            <pc:docMk/>
            <pc:sldMk cId="637503088" sldId="313"/>
            <ac:spMk id="15" creationId="{F7B5D358-DE5E-D8C4-ADC1-C5D1A3D0DE2B}"/>
          </ac:spMkLst>
        </pc:spChg>
        <pc:graphicFrameChg chg="mod">
          <ac:chgData name="Tobias Brammer" userId="80a1e1bd-3b82-47a5-b259-da62a397db92" providerId="ADAL" clId="{1E3A7C41-47CF-4BFD-8C66-533AAAACACA8}" dt="2023-03-08T19:10:15.806" v="10536"/>
          <ac:graphicFrameMkLst>
            <pc:docMk/>
            <pc:sldMk cId="637503088" sldId="313"/>
            <ac:graphicFrameMk id="4" creationId="{DA4F5744-822E-272D-9EB9-E4CFFB864E67}"/>
          </ac:graphicFrameMkLst>
        </pc:graphicFrameChg>
      </pc:sldChg>
      <pc:sldChg chg="addSp delSp modSp new add del mod replTag modNotes">
        <pc:chgData name="Tobias Brammer" userId="80a1e1bd-3b82-47a5-b259-da62a397db92" providerId="ADAL" clId="{1E3A7C41-47CF-4BFD-8C66-533AAAACACA8}" dt="2023-03-07T06:19:48.494" v="8634" actId="47"/>
        <pc:sldMkLst>
          <pc:docMk/>
          <pc:sldMk cId="2442288617" sldId="314"/>
        </pc:sldMkLst>
        <pc:spChg chg="del mod">
          <ac:chgData name="Tobias Brammer" userId="80a1e1bd-3b82-47a5-b259-da62a397db92" providerId="ADAL" clId="{1E3A7C41-47CF-4BFD-8C66-533AAAACACA8}" dt="2023-03-07T06:19:26.427" v="7886"/>
          <ac:spMkLst>
            <pc:docMk/>
            <pc:sldMk cId="2442288617" sldId="314"/>
            <ac:spMk id="2" creationId="{D309766A-97F8-D59F-9A4A-A34A6A22E12B}"/>
          </ac:spMkLst>
        </pc:spChg>
        <pc:spChg chg="del mod">
          <ac:chgData name="Tobias Brammer" userId="80a1e1bd-3b82-47a5-b259-da62a397db92" providerId="ADAL" clId="{1E3A7C41-47CF-4BFD-8C66-533AAAACACA8}" dt="2023-03-07T06:19:26.427" v="7886"/>
          <ac:spMkLst>
            <pc:docMk/>
            <pc:sldMk cId="2442288617" sldId="314"/>
            <ac:spMk id="3" creationId="{53590706-900D-C74D-75E6-E7958675BDB1}"/>
          </ac:spMkLst>
        </pc:spChg>
        <pc:spChg chg="del mod">
          <ac:chgData name="Tobias Brammer" userId="80a1e1bd-3b82-47a5-b259-da62a397db92" providerId="ADAL" clId="{1E3A7C41-47CF-4BFD-8C66-533AAAACACA8}" dt="2023-03-07T06:19:26.427" v="7886"/>
          <ac:spMkLst>
            <pc:docMk/>
            <pc:sldMk cId="2442288617" sldId="314"/>
            <ac:spMk id="4" creationId="{B85D4468-326B-B61A-BD09-97319A802902}"/>
          </ac:spMkLst>
        </pc:spChg>
        <pc:spChg chg="add del mod replST">
          <ac:chgData name="Tobias Brammer" userId="80a1e1bd-3b82-47a5-b259-da62a397db92" providerId="ADAL" clId="{1E3A7C41-47CF-4BFD-8C66-533AAAACACA8}" dt="2023-03-07T06:19:34.993" v="8037"/>
          <ac:spMkLst>
            <pc:docMk/>
            <pc:sldMk cId="2442288617" sldId="314"/>
            <ac:spMk id="5" creationId="{C5BBB58E-569B-B687-4FFC-8858D431FDF6}"/>
          </ac:spMkLst>
        </pc:spChg>
        <pc:spChg chg="add del mod ord replST">
          <ac:chgData name="Tobias Brammer" userId="80a1e1bd-3b82-47a5-b259-da62a397db92" providerId="ADAL" clId="{1E3A7C41-47CF-4BFD-8C66-533AAAACACA8}" dt="2023-03-07T06:19:34.994" v="8039"/>
          <ac:spMkLst>
            <pc:docMk/>
            <pc:sldMk cId="2442288617" sldId="314"/>
            <ac:spMk id="6" creationId="{322CEEFA-3CBB-484B-5950-40E401853D50}"/>
          </ac:spMkLst>
        </pc:spChg>
        <pc:spChg chg="add del mod replST">
          <ac:chgData name="Tobias Brammer" userId="80a1e1bd-3b82-47a5-b259-da62a397db92" providerId="ADAL" clId="{1E3A7C41-47CF-4BFD-8C66-533AAAACACA8}" dt="2023-03-07T06:19:34.993" v="8035"/>
          <ac:spMkLst>
            <pc:docMk/>
            <pc:sldMk cId="2442288617" sldId="314"/>
            <ac:spMk id="7" creationId="{0E2B4C85-EA1B-CAD1-99AE-77D0DDD4202A}"/>
          </ac:spMkLst>
        </pc:spChg>
        <pc:spChg chg="add del mod replST">
          <ac:chgData name="Tobias Brammer" userId="80a1e1bd-3b82-47a5-b259-da62a397db92" providerId="ADAL" clId="{1E3A7C41-47CF-4BFD-8C66-533AAAACACA8}" dt="2023-03-07T06:19:34.992" v="8034"/>
          <ac:spMkLst>
            <pc:docMk/>
            <pc:sldMk cId="2442288617" sldId="314"/>
            <ac:spMk id="8" creationId="{33AAD9C2-691E-CDBB-DE65-B539431F9044}"/>
          </ac:spMkLst>
        </pc:spChg>
        <pc:spChg chg="add del mod replST">
          <ac:chgData name="Tobias Brammer" userId="80a1e1bd-3b82-47a5-b259-da62a397db92" providerId="ADAL" clId="{1E3A7C41-47CF-4BFD-8C66-533AAAACACA8}" dt="2023-03-07T06:19:34.990" v="8032"/>
          <ac:spMkLst>
            <pc:docMk/>
            <pc:sldMk cId="2442288617" sldId="314"/>
            <ac:spMk id="9" creationId="{E1DC0737-D98C-FF28-DA55-451DEB6FEBC9}"/>
          </ac:spMkLst>
        </pc:spChg>
        <pc:spChg chg="add del mod replST">
          <ac:chgData name="Tobias Brammer" userId="80a1e1bd-3b82-47a5-b259-da62a397db92" providerId="ADAL" clId="{1E3A7C41-47CF-4BFD-8C66-533AAAACACA8}" dt="2023-03-07T06:19:35.209" v="8186"/>
          <ac:spMkLst>
            <pc:docMk/>
            <pc:sldMk cId="2442288617" sldId="314"/>
            <ac:spMk id="10" creationId="{AC7C5A1F-CF6B-F0BA-31AF-1B15193C2327}"/>
          </ac:spMkLst>
        </pc:spChg>
        <pc:spChg chg="add del mod ord replST">
          <ac:chgData name="Tobias Brammer" userId="80a1e1bd-3b82-47a5-b259-da62a397db92" providerId="ADAL" clId="{1E3A7C41-47CF-4BFD-8C66-533AAAACACA8}" dt="2023-03-07T06:19:35.210" v="8188"/>
          <ac:spMkLst>
            <pc:docMk/>
            <pc:sldMk cId="2442288617" sldId="314"/>
            <ac:spMk id="11" creationId="{FFF1A8CF-C3F3-0D95-601E-643F29B4D6D5}"/>
          </ac:spMkLst>
        </pc:spChg>
        <pc:spChg chg="add del mod replST">
          <ac:chgData name="Tobias Brammer" userId="80a1e1bd-3b82-47a5-b259-da62a397db92" providerId="ADAL" clId="{1E3A7C41-47CF-4BFD-8C66-533AAAACACA8}" dt="2023-03-07T06:19:35.208" v="8184"/>
          <ac:spMkLst>
            <pc:docMk/>
            <pc:sldMk cId="2442288617" sldId="314"/>
            <ac:spMk id="12" creationId="{29C480A2-0897-968D-3C47-C37E1D151123}"/>
          </ac:spMkLst>
        </pc:spChg>
        <pc:spChg chg="add del mod replST">
          <ac:chgData name="Tobias Brammer" userId="80a1e1bd-3b82-47a5-b259-da62a397db92" providerId="ADAL" clId="{1E3A7C41-47CF-4BFD-8C66-533AAAACACA8}" dt="2023-03-07T06:19:35.208" v="8183"/>
          <ac:spMkLst>
            <pc:docMk/>
            <pc:sldMk cId="2442288617" sldId="314"/>
            <ac:spMk id="13" creationId="{87411137-08ED-EF25-6EAD-7582CE377194}"/>
          </ac:spMkLst>
        </pc:spChg>
        <pc:spChg chg="add del mod replST">
          <ac:chgData name="Tobias Brammer" userId="80a1e1bd-3b82-47a5-b259-da62a397db92" providerId="ADAL" clId="{1E3A7C41-47CF-4BFD-8C66-533AAAACACA8}" dt="2023-03-07T06:19:35.207" v="8181"/>
          <ac:spMkLst>
            <pc:docMk/>
            <pc:sldMk cId="2442288617" sldId="314"/>
            <ac:spMk id="14" creationId="{528F609B-DAC0-6B13-E030-521ABC1492C3}"/>
          </ac:spMkLst>
        </pc:spChg>
        <pc:spChg chg="add del mod replST">
          <ac:chgData name="Tobias Brammer" userId="80a1e1bd-3b82-47a5-b259-da62a397db92" providerId="ADAL" clId="{1E3A7C41-47CF-4BFD-8C66-533AAAACACA8}" dt="2023-03-07T06:19:35.443" v="8335"/>
          <ac:spMkLst>
            <pc:docMk/>
            <pc:sldMk cId="2442288617" sldId="314"/>
            <ac:spMk id="15" creationId="{B5187429-2401-8A8A-F31C-5CE416ED6DD0}"/>
          </ac:spMkLst>
        </pc:spChg>
        <pc:spChg chg="add del mod ord replST">
          <ac:chgData name="Tobias Brammer" userId="80a1e1bd-3b82-47a5-b259-da62a397db92" providerId="ADAL" clId="{1E3A7C41-47CF-4BFD-8C66-533AAAACACA8}" dt="2023-03-07T06:19:35.443" v="8337"/>
          <ac:spMkLst>
            <pc:docMk/>
            <pc:sldMk cId="2442288617" sldId="314"/>
            <ac:spMk id="16" creationId="{5A4306E2-BD3D-BCF5-2103-B3ACDFCD6C70}"/>
          </ac:spMkLst>
        </pc:spChg>
        <pc:spChg chg="add del mod replST">
          <ac:chgData name="Tobias Brammer" userId="80a1e1bd-3b82-47a5-b259-da62a397db92" providerId="ADAL" clId="{1E3A7C41-47CF-4BFD-8C66-533AAAACACA8}" dt="2023-03-07T06:19:35.442" v="8333"/>
          <ac:spMkLst>
            <pc:docMk/>
            <pc:sldMk cId="2442288617" sldId="314"/>
            <ac:spMk id="17" creationId="{7C3FCB28-CA2F-15AC-BF34-63036E9F36AE}"/>
          </ac:spMkLst>
        </pc:spChg>
        <pc:spChg chg="add del mod replST">
          <ac:chgData name="Tobias Brammer" userId="80a1e1bd-3b82-47a5-b259-da62a397db92" providerId="ADAL" clId="{1E3A7C41-47CF-4BFD-8C66-533AAAACACA8}" dt="2023-03-07T06:19:35.441" v="8332"/>
          <ac:spMkLst>
            <pc:docMk/>
            <pc:sldMk cId="2442288617" sldId="314"/>
            <ac:spMk id="18" creationId="{044EAEE4-AD89-14C2-48D0-D2255B57DC21}"/>
          </ac:spMkLst>
        </pc:spChg>
        <pc:spChg chg="add del mod replST">
          <ac:chgData name="Tobias Brammer" userId="80a1e1bd-3b82-47a5-b259-da62a397db92" providerId="ADAL" clId="{1E3A7C41-47CF-4BFD-8C66-533AAAACACA8}" dt="2023-03-07T06:19:35.440" v="8330"/>
          <ac:spMkLst>
            <pc:docMk/>
            <pc:sldMk cId="2442288617" sldId="314"/>
            <ac:spMk id="19" creationId="{0F99221D-C1CF-D638-A520-45858198E6ED}"/>
          </ac:spMkLst>
        </pc:spChg>
        <pc:spChg chg="add del mod replST">
          <ac:chgData name="Tobias Brammer" userId="80a1e1bd-3b82-47a5-b259-da62a397db92" providerId="ADAL" clId="{1E3A7C41-47CF-4BFD-8C66-533AAAACACA8}" dt="2023-03-07T06:19:35.671" v="8484"/>
          <ac:spMkLst>
            <pc:docMk/>
            <pc:sldMk cId="2442288617" sldId="314"/>
            <ac:spMk id="20" creationId="{967AE865-2A70-22D4-7A34-57DE6C6A2DBB}"/>
          </ac:spMkLst>
        </pc:spChg>
        <pc:spChg chg="add del mod ord replST">
          <ac:chgData name="Tobias Brammer" userId="80a1e1bd-3b82-47a5-b259-da62a397db92" providerId="ADAL" clId="{1E3A7C41-47CF-4BFD-8C66-533AAAACACA8}" dt="2023-03-07T06:19:35.672" v="8486"/>
          <ac:spMkLst>
            <pc:docMk/>
            <pc:sldMk cId="2442288617" sldId="314"/>
            <ac:spMk id="21" creationId="{00EEA402-4E65-3535-C222-B54FE34AF3CE}"/>
          </ac:spMkLst>
        </pc:spChg>
        <pc:spChg chg="add del mod replST">
          <ac:chgData name="Tobias Brammer" userId="80a1e1bd-3b82-47a5-b259-da62a397db92" providerId="ADAL" clId="{1E3A7C41-47CF-4BFD-8C66-533AAAACACA8}" dt="2023-03-07T06:19:35.670" v="8482"/>
          <ac:spMkLst>
            <pc:docMk/>
            <pc:sldMk cId="2442288617" sldId="314"/>
            <ac:spMk id="22" creationId="{29344402-9945-7F6C-AA77-4360A4D3C96F}"/>
          </ac:spMkLst>
        </pc:spChg>
        <pc:spChg chg="add del mod replST">
          <ac:chgData name="Tobias Brammer" userId="80a1e1bd-3b82-47a5-b259-da62a397db92" providerId="ADAL" clId="{1E3A7C41-47CF-4BFD-8C66-533AAAACACA8}" dt="2023-03-07T06:19:35.670" v="8481"/>
          <ac:spMkLst>
            <pc:docMk/>
            <pc:sldMk cId="2442288617" sldId="314"/>
            <ac:spMk id="23" creationId="{1C03F8F9-4838-D4FC-069D-70E917C8A1EB}"/>
          </ac:spMkLst>
        </pc:spChg>
        <pc:spChg chg="add del mod replST">
          <ac:chgData name="Tobias Brammer" userId="80a1e1bd-3b82-47a5-b259-da62a397db92" providerId="ADAL" clId="{1E3A7C41-47CF-4BFD-8C66-533AAAACACA8}" dt="2023-03-07T06:19:35.669" v="8479"/>
          <ac:spMkLst>
            <pc:docMk/>
            <pc:sldMk cId="2442288617" sldId="314"/>
            <ac:spMk id="24" creationId="{34D48AA3-B69B-8750-EBAC-136A8B07C95A}"/>
          </ac:spMkLst>
        </pc:spChg>
        <pc:spChg chg="add mod replST">
          <ac:chgData name="Tobias Brammer" userId="80a1e1bd-3b82-47a5-b259-da62a397db92" providerId="ADAL" clId="{1E3A7C41-47CF-4BFD-8C66-533AAAACACA8}" dt="2023-03-07T06:19:35.690" v="8514" actId="947"/>
          <ac:spMkLst>
            <pc:docMk/>
            <pc:sldMk cId="2442288617" sldId="314"/>
            <ac:spMk id="25" creationId="{47CBC08F-0544-5020-CDE8-0D63E4B97FB5}"/>
          </ac:spMkLst>
        </pc:spChg>
        <pc:spChg chg="add mod ord replST">
          <ac:chgData name="Tobias Brammer" userId="80a1e1bd-3b82-47a5-b259-da62a397db92" providerId="ADAL" clId="{1E3A7C41-47CF-4BFD-8C66-533AAAACACA8}" dt="2023-03-07T06:19:35.701" v="8540"/>
          <ac:spMkLst>
            <pc:docMk/>
            <pc:sldMk cId="2442288617" sldId="314"/>
            <ac:spMk id="26" creationId="{ED968E32-DFE5-08E1-75A9-9B7354F2E546}"/>
          </ac:spMkLst>
        </pc:spChg>
        <pc:spChg chg="add mod replST">
          <ac:chgData name="Tobias Brammer" userId="80a1e1bd-3b82-47a5-b259-da62a397db92" providerId="ADAL" clId="{1E3A7C41-47CF-4BFD-8C66-533AAAACACA8}" dt="2023-03-07T06:19:35.717" v="8570"/>
          <ac:spMkLst>
            <pc:docMk/>
            <pc:sldMk cId="2442288617" sldId="314"/>
            <ac:spMk id="27" creationId="{36C52EF2-74E9-EF05-A685-07FBB6AA7D1A}"/>
          </ac:spMkLst>
        </pc:spChg>
        <pc:spChg chg="add mod replST">
          <ac:chgData name="Tobias Brammer" userId="80a1e1bd-3b82-47a5-b259-da62a397db92" providerId="ADAL" clId="{1E3A7C41-47CF-4BFD-8C66-533AAAACACA8}" dt="2023-03-07T06:19:35.733" v="8599" actId="207"/>
          <ac:spMkLst>
            <pc:docMk/>
            <pc:sldMk cId="2442288617" sldId="314"/>
            <ac:spMk id="28" creationId="{07FD8821-3E17-2675-F9DC-4495D372B414}"/>
          </ac:spMkLst>
        </pc:spChg>
        <pc:spChg chg="add mod replST">
          <ac:chgData name="Tobias Brammer" userId="80a1e1bd-3b82-47a5-b259-da62a397db92" providerId="ADAL" clId="{1E3A7C41-47CF-4BFD-8C66-533AAAACACA8}" dt="2023-03-07T06:19:35.747" v="8627"/>
          <ac:spMkLst>
            <pc:docMk/>
            <pc:sldMk cId="2442288617" sldId="314"/>
            <ac:spMk id="29" creationId="{02773137-9307-4053-D6EE-DB41B53BD839}"/>
          </ac:spMkLst>
        </pc:spChg>
      </pc:sldChg>
      <pc:sldMasterChg chg="delSp modSp mod modSldLayout">
        <pc:chgData name="Tobias Brammer" userId="80a1e1bd-3b82-47a5-b259-da62a397db92" providerId="ADAL" clId="{1E3A7C41-47CF-4BFD-8C66-533AAAACACA8}" dt="2023-02-28T05:57:37.780" v="1856" actId="1076"/>
        <pc:sldMasterMkLst>
          <pc:docMk/>
          <pc:sldMasterMk cId="408341288" sldId="2147483648"/>
        </pc:sldMasterMkLst>
        <pc:spChg chg="mod">
          <ac:chgData name="Tobias Brammer" userId="80a1e1bd-3b82-47a5-b259-da62a397db92" providerId="ADAL" clId="{1E3A7C41-47CF-4BFD-8C66-533AAAACACA8}" dt="2023-02-28T05:57:36.927" v="864" actId="948"/>
          <ac:spMkLst>
            <pc:docMk/>
            <pc:sldMasterMk cId="408341288" sldId="2147483648"/>
            <ac:spMk id="2" creationId="{00000000-0000-0000-0000-000000000000}"/>
          </ac:spMkLst>
        </pc:spChg>
        <pc:spChg chg="mod">
          <ac:chgData name="Tobias Brammer" userId="80a1e1bd-3b82-47a5-b259-da62a397db92" providerId="ADAL" clId="{1E3A7C41-47CF-4BFD-8C66-533AAAACACA8}" dt="2023-02-28T05:57:36.300" v="602" actId="790"/>
          <ac:spMkLst>
            <pc:docMk/>
            <pc:sldMasterMk cId="408341288" sldId="2147483648"/>
            <ac:spMk id="3" creationId="{00000000-0000-0000-0000-000000000000}"/>
          </ac:spMkLst>
        </pc:spChg>
        <pc:spChg chg="del mod modVis">
          <ac:chgData name="Tobias Brammer" userId="80a1e1bd-3b82-47a5-b259-da62a397db92" providerId="ADAL" clId="{1E3A7C41-47CF-4BFD-8C66-533AAAACACA8}" dt="2023-02-28T05:57:37.471" v="1678" actId="478"/>
          <ac:spMkLst>
            <pc:docMk/>
            <pc:sldMasterMk cId="408341288" sldId="2147483648"/>
            <ac:spMk id="4" creationId="{CAD4E2A7-5FD0-BC15-2AA0-6ECFCB217FC9}"/>
          </ac:spMkLst>
        </pc:spChg>
        <pc:spChg chg="mod">
          <ac:chgData name="Tobias Brammer" userId="80a1e1bd-3b82-47a5-b259-da62a397db92" providerId="ADAL" clId="{1E3A7C41-47CF-4BFD-8C66-533AAAACACA8}" dt="2023-02-28T05:57:36.300" v="603" actId="790"/>
          <ac:spMkLst>
            <pc:docMk/>
            <pc:sldMasterMk cId="408341288" sldId="2147483648"/>
            <ac:spMk id="6" creationId="{00000000-0000-0000-0000-000000000000}"/>
          </ac:spMkLst>
        </pc:spChg>
        <pc:spChg chg="mod">
          <ac:chgData name="Tobias Brammer" userId="80a1e1bd-3b82-47a5-b259-da62a397db92" providerId="ADAL" clId="{1E3A7C41-47CF-4BFD-8C66-533AAAACACA8}" dt="2023-02-28T05:57:36.300" v="605" actId="947"/>
          <ac:spMkLst>
            <pc:docMk/>
            <pc:sldMasterMk cId="408341288" sldId="2147483648"/>
            <ac:spMk id="16" creationId="{41CBECE6-4121-4040-93C2-1D43AFE5C05D}"/>
          </ac:spMkLst>
        </pc:spChg>
        <pc:graphicFrameChg chg="mod">
          <ac:chgData name="Tobias Brammer" userId="80a1e1bd-3b82-47a5-b259-da62a397db92" providerId="ADAL" clId="{1E3A7C41-47CF-4BFD-8C66-533AAAACACA8}" dt="2023-02-28T05:57:37.471" v="1679" actId="1076"/>
          <ac:graphicFrameMkLst>
            <pc:docMk/>
            <pc:sldMasterMk cId="408341288" sldId="2147483648"/>
            <ac:graphicFrameMk id="5" creationId="{DDE25FA5-E514-CFB8-9A3C-3E423FEA643B}"/>
          </ac:graphicFrameMkLst>
        </pc:graphicFrameChg>
        <pc:sldLayoutChg chg="delSp modSp mod">
          <pc:chgData name="Tobias Brammer" userId="80a1e1bd-3b82-47a5-b259-da62a397db92" providerId="ADAL" clId="{1E3A7C41-47CF-4BFD-8C66-533AAAACACA8}" dt="2023-02-28T05:57:37.455" v="1668" actId="1076"/>
          <pc:sldLayoutMkLst>
            <pc:docMk/>
            <pc:sldMasterMk cId="408341288" sldId="2147483648"/>
            <pc:sldLayoutMk cId="1576694700" sldId="2147483650"/>
          </pc:sldLayoutMkLst>
          <pc:spChg chg="mod">
            <ac:chgData name="Tobias Brammer" userId="80a1e1bd-3b82-47a5-b259-da62a397db92" providerId="ADAL" clId="{1E3A7C41-47CF-4BFD-8C66-533AAAACACA8}" dt="2023-02-28T05:57:36.864" v="792" actId="948"/>
            <ac:spMkLst>
              <pc:docMk/>
              <pc:sldMasterMk cId="408341288" sldId="2147483648"/>
              <pc:sldLayoutMk cId="1576694700" sldId="2147483650"/>
              <ac:spMk id="2" creationId="{00000000-0000-0000-0000-000000000000}"/>
            </ac:spMkLst>
          </pc:spChg>
          <pc:spChg chg="del mod modVis">
            <ac:chgData name="Tobias Brammer" userId="80a1e1bd-3b82-47a5-b259-da62a397db92" providerId="ADAL" clId="{1E3A7C41-47CF-4BFD-8C66-533AAAACACA8}" dt="2023-02-28T05:57:37.442" v="1660" actId="478"/>
            <ac:spMkLst>
              <pc:docMk/>
              <pc:sldMasterMk cId="408341288" sldId="2147483648"/>
              <pc:sldLayoutMk cId="1576694700" sldId="2147483650"/>
              <ac:spMk id="3" creationId="{12BE213B-B437-F6A1-CB38-3E24867DE2E2}"/>
            </ac:spMkLst>
          </pc:spChg>
          <pc:spChg chg="mod">
            <ac:chgData name="Tobias Brammer" userId="80a1e1bd-3b82-47a5-b259-da62a397db92" providerId="ADAL" clId="{1E3A7C41-47CF-4BFD-8C66-533AAAACACA8}" dt="2023-02-28T05:57:36.395" v="654"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1E3A7C41-47CF-4BFD-8C66-533AAAACACA8}" dt="2023-02-28T05:57:36.395" v="655" actId="790"/>
            <ac:spMkLst>
              <pc:docMk/>
              <pc:sldMasterMk cId="408341288" sldId="2147483648"/>
              <pc:sldLayoutMk cId="1576694700" sldId="2147483650"/>
              <ac:spMk id="10" creationId="{CD368082-6B4C-4E17-B467-EDE690A0632A}"/>
            </ac:spMkLst>
          </pc:spChg>
          <pc:graphicFrameChg chg="mod ord modVis replST">
            <ac:chgData name="Tobias Brammer" userId="80a1e1bd-3b82-47a5-b259-da62a397db92" providerId="ADAL" clId="{1E3A7C41-47CF-4BFD-8C66-533AAAACACA8}" dt="2023-02-28T05:57:37.455" v="1668" actId="1076"/>
            <ac:graphicFrameMkLst>
              <pc:docMk/>
              <pc:sldMasterMk cId="408341288" sldId="2147483648"/>
              <pc:sldLayoutMk cId="1576694700" sldId="2147483650"/>
              <ac:graphicFrameMk id="4" creationId="{1B7D2480-7036-710B-1778-3F9B8F54412B}"/>
            </ac:graphicFrameMkLst>
          </pc:graphicFrameChg>
        </pc:sldLayoutChg>
        <pc:sldLayoutChg chg="delSp modSp mod">
          <pc:chgData name="Tobias Brammer" userId="80a1e1bd-3b82-47a5-b259-da62a397db92" providerId="ADAL" clId="{1E3A7C41-47CF-4BFD-8C66-533AAAACACA8}" dt="2023-02-28T05:57:37.680" v="1803" actId="1076"/>
          <pc:sldLayoutMkLst>
            <pc:docMk/>
            <pc:sldMasterMk cId="408341288" sldId="2147483648"/>
            <pc:sldLayoutMk cId="799966409" sldId="2147483654"/>
          </pc:sldLayoutMkLst>
          <pc:spChg chg="mod">
            <ac:chgData name="Tobias Brammer" userId="80a1e1bd-3b82-47a5-b259-da62a397db92" providerId="ADAL" clId="{1E3A7C41-47CF-4BFD-8C66-533AAAACACA8}" dt="2023-02-28T05:57:37.211" v="1296" actId="948"/>
            <ac:spMkLst>
              <pc:docMk/>
              <pc:sldMasterMk cId="408341288" sldId="2147483648"/>
              <pc:sldLayoutMk cId="799966409" sldId="2147483654"/>
              <ac:spMk id="2" creationId="{00000000-0000-0000-0000-000000000000}"/>
            </ac:spMkLst>
          </pc:spChg>
          <pc:spChg chg="del mod modVis">
            <ac:chgData name="Tobias Brammer" userId="80a1e1bd-3b82-47a5-b259-da62a397db92" providerId="ADAL" clId="{1E3A7C41-47CF-4BFD-8C66-533AAAACACA8}" dt="2023-02-28T05:57:37.664" v="1795" actId="478"/>
            <ac:spMkLst>
              <pc:docMk/>
              <pc:sldMasterMk cId="408341288" sldId="2147483648"/>
              <pc:sldLayoutMk cId="799966409" sldId="2147483654"/>
              <ac:spMk id="3" creationId="{A2DDA067-65EC-48E6-F67E-BF93AC88E532}"/>
            </ac:spMkLst>
          </pc:spChg>
          <pc:spChg chg="mod">
            <ac:chgData name="Tobias Brammer" userId="80a1e1bd-3b82-47a5-b259-da62a397db92" providerId="ADAL" clId="{1E3A7C41-47CF-4BFD-8C66-533AAAACACA8}" dt="2023-02-28T05:57:36.579" v="733" actId="790"/>
            <ac:spMkLst>
              <pc:docMk/>
              <pc:sldMasterMk cId="408341288" sldId="2147483648"/>
              <pc:sldLayoutMk cId="799966409" sldId="2147483654"/>
              <ac:spMk id="5" creationId="{00000000-0000-0000-0000-000000000000}"/>
            </ac:spMkLst>
          </pc:spChg>
          <pc:graphicFrameChg chg="mod ord modVis replST">
            <ac:chgData name="Tobias Brammer" userId="80a1e1bd-3b82-47a5-b259-da62a397db92" providerId="ADAL" clId="{1E3A7C41-47CF-4BFD-8C66-533AAAACACA8}" dt="2023-02-28T05:57:37.680" v="1803" actId="1076"/>
            <ac:graphicFrameMkLst>
              <pc:docMk/>
              <pc:sldMasterMk cId="408341288" sldId="2147483648"/>
              <pc:sldLayoutMk cId="799966409" sldId="2147483654"/>
              <ac:graphicFrameMk id="4" creationId="{6251417E-2501-E881-FC04-B6D712425DBF}"/>
            </ac:graphicFrameMkLst>
          </pc:graphicFrameChg>
        </pc:sldLayoutChg>
        <pc:sldLayoutChg chg="delSp modSp mod">
          <pc:chgData name="Tobias Brammer" userId="80a1e1bd-3b82-47a5-b259-da62a397db92" providerId="ADAL" clId="{1E3A7C41-47CF-4BFD-8C66-533AAAACACA8}" dt="2023-02-28T05:57:37.600" v="1760" actId="1076"/>
          <pc:sldLayoutMkLst>
            <pc:docMk/>
            <pc:sldMasterMk cId="408341288" sldId="2147483648"/>
            <pc:sldLayoutMk cId="2002834051" sldId="2147483661"/>
          </pc:sldLayoutMkLst>
          <pc:spChg chg="mod">
            <ac:chgData name="Tobias Brammer" userId="80a1e1bd-3b82-47a5-b259-da62a397db92" providerId="ADAL" clId="{1E3A7C41-47CF-4BFD-8C66-533AAAACACA8}" dt="2023-02-28T05:57:37.142" v="1188" actId="948"/>
            <ac:spMkLst>
              <pc:docMk/>
              <pc:sldMasterMk cId="408341288" sldId="2147483648"/>
              <pc:sldLayoutMk cId="2002834051" sldId="2147483661"/>
              <ac:spMk id="2" creationId="{41406E95-0077-466F-B205-C9B6361A1F13}"/>
            </ac:spMkLst>
          </pc:spChg>
          <pc:spChg chg="del mod modVis">
            <ac:chgData name="Tobias Brammer" userId="80a1e1bd-3b82-47a5-b259-da62a397db92" providerId="ADAL" clId="{1E3A7C41-47CF-4BFD-8C66-533AAAACACA8}" dt="2023-02-28T05:57:37.585" v="1752" actId="478"/>
            <ac:spMkLst>
              <pc:docMk/>
              <pc:sldMasterMk cId="408341288" sldId="2147483648"/>
              <pc:sldLayoutMk cId="2002834051" sldId="2147483661"/>
              <ac:spMk id="3" creationId="{8B51DB9A-1D16-F49D-CE99-2A4E463956EF}"/>
            </ac:spMkLst>
          </pc:spChg>
          <pc:spChg chg="mod">
            <ac:chgData name="Tobias Brammer" userId="80a1e1bd-3b82-47a5-b259-da62a397db92" providerId="ADAL" clId="{1E3A7C41-47CF-4BFD-8C66-533AAAACACA8}" dt="2023-02-28T05:57:36.495" v="695"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1E3A7C41-47CF-4BFD-8C66-533AAAACACA8}" dt="2023-02-28T05:57:36.495" v="696"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1E3A7C41-47CF-4BFD-8C66-533AAAACACA8}" dt="2023-02-28T05:57:36.495" v="697"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1E3A7C41-47CF-4BFD-8C66-533AAAACACA8}" dt="2023-02-28T05:57:36.495" v="698"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1E3A7C41-47CF-4BFD-8C66-533AAAACACA8}" dt="2023-02-28T05:57:36.510" v="699" actId="790"/>
            <ac:spMkLst>
              <pc:docMk/>
              <pc:sldMasterMk cId="408341288" sldId="2147483648"/>
              <pc:sldLayoutMk cId="2002834051" sldId="2147483661"/>
              <ac:spMk id="13" creationId="{9DDCD743-188F-4B86-8747-1E373705BA9C}"/>
            </ac:spMkLst>
          </pc:spChg>
          <pc:graphicFrameChg chg="mod ord modVis replST">
            <ac:chgData name="Tobias Brammer" userId="80a1e1bd-3b82-47a5-b259-da62a397db92" providerId="ADAL" clId="{1E3A7C41-47CF-4BFD-8C66-533AAAACACA8}" dt="2023-02-28T05:57:37.600" v="1760" actId="1076"/>
            <ac:graphicFrameMkLst>
              <pc:docMk/>
              <pc:sldMasterMk cId="408341288" sldId="2147483648"/>
              <pc:sldLayoutMk cId="2002834051" sldId="2147483661"/>
              <ac:graphicFrameMk id="4" creationId="{ED0CD790-3C72-3174-9BB9-AAC04CCFEA37}"/>
            </ac:graphicFrameMkLst>
          </pc:graphicFrameChg>
        </pc:sldLayoutChg>
        <pc:sldLayoutChg chg="delSp modSp mod">
          <pc:chgData name="Tobias Brammer" userId="80a1e1bd-3b82-47a5-b259-da62a397db92" providerId="ADAL" clId="{1E3A7C41-47CF-4BFD-8C66-533AAAACACA8}" dt="2023-02-28T05:57:37.502" v="1706" actId="1076"/>
          <pc:sldLayoutMkLst>
            <pc:docMk/>
            <pc:sldMasterMk cId="408341288" sldId="2147483648"/>
            <pc:sldLayoutMk cId="1215719097" sldId="2147483663"/>
          </pc:sldLayoutMkLst>
          <pc:spChg chg="mod">
            <ac:chgData name="Tobias Brammer" userId="80a1e1bd-3b82-47a5-b259-da62a397db92" providerId="ADAL" clId="{1E3A7C41-47CF-4BFD-8C66-533AAAACACA8}" dt="2023-02-28T05:57:36.995" v="97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1E3A7C41-47CF-4BFD-8C66-533AAAACACA8}" dt="2023-02-28T05:57:36.331" v="614" actId="790"/>
            <ac:spMkLst>
              <pc:docMk/>
              <pc:sldMasterMk cId="408341288" sldId="2147483648"/>
              <pc:sldLayoutMk cId="1215719097" sldId="2147483663"/>
              <ac:spMk id="3" creationId="{00000000-0000-0000-0000-000000000000}"/>
            </ac:spMkLst>
          </pc:spChg>
          <pc:spChg chg="del mod modVis">
            <ac:chgData name="Tobias Brammer" userId="80a1e1bd-3b82-47a5-b259-da62a397db92" providerId="ADAL" clId="{1E3A7C41-47CF-4BFD-8C66-533AAAACACA8}" dt="2023-02-28T05:57:37.502" v="1698" actId="478"/>
            <ac:spMkLst>
              <pc:docMk/>
              <pc:sldMasterMk cId="408341288" sldId="2147483648"/>
              <pc:sldLayoutMk cId="1215719097" sldId="2147483663"/>
              <ac:spMk id="4" creationId="{0C24DDF2-72E1-5C5B-CB62-92949F989EF3}"/>
            </ac:spMkLst>
          </pc:spChg>
          <pc:spChg chg="mod">
            <ac:chgData name="Tobias Brammer" userId="80a1e1bd-3b82-47a5-b259-da62a397db92" providerId="ADAL" clId="{1E3A7C41-47CF-4BFD-8C66-533AAAACACA8}" dt="2023-02-28T05:57:36.331" v="615"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1E3A7C41-47CF-4BFD-8C66-533AAAACACA8}" dt="2023-02-28T05:57:36.315" v="612"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1E3A7C41-47CF-4BFD-8C66-533AAAACACA8}" dt="2023-02-28T05:57:36.331" v="616"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1E3A7C41-47CF-4BFD-8C66-533AAAACACA8}" dt="2023-02-28T05:57:36.331" v="618" actId="947"/>
            <ac:spMkLst>
              <pc:docMk/>
              <pc:sldMasterMk cId="408341288" sldId="2147483648"/>
              <pc:sldLayoutMk cId="1215719097" sldId="2147483663"/>
              <ac:spMk id="22" creationId="{7B05331B-4732-4B64-9AE5-022C6BC76C13}"/>
            </ac:spMkLst>
          </pc:spChg>
          <pc:graphicFrameChg chg="mod ord modVis replST">
            <ac:chgData name="Tobias Brammer" userId="80a1e1bd-3b82-47a5-b259-da62a397db92" providerId="ADAL" clId="{1E3A7C41-47CF-4BFD-8C66-533AAAACACA8}" dt="2023-02-28T05:57:37.502" v="1706" actId="1076"/>
            <ac:graphicFrameMkLst>
              <pc:docMk/>
              <pc:sldMasterMk cId="408341288" sldId="2147483648"/>
              <pc:sldLayoutMk cId="1215719097" sldId="2147483663"/>
              <ac:graphicFrameMk id="5" creationId="{7C26A0E6-6391-3B1A-8CE6-894498A6F9D0}"/>
            </ac:graphicFrameMkLst>
          </pc:graphicFrameChg>
        </pc:sldLayoutChg>
        <pc:sldLayoutChg chg="delSp modSp mod">
          <pc:chgData name="Tobias Brammer" userId="80a1e1bd-3b82-47a5-b259-da62a397db92" providerId="ADAL" clId="{1E3A7C41-47CF-4BFD-8C66-533AAAACACA8}" dt="2023-02-28T05:57:37.487" v="1688" actId="1076"/>
          <pc:sldLayoutMkLst>
            <pc:docMk/>
            <pc:sldMasterMk cId="408341288" sldId="2147483648"/>
            <pc:sldLayoutMk cId="3653027901" sldId="2147483672"/>
          </pc:sldLayoutMkLst>
          <pc:spChg chg="mod">
            <ac:chgData name="Tobias Brammer" userId="80a1e1bd-3b82-47a5-b259-da62a397db92" providerId="ADAL" clId="{1E3A7C41-47CF-4BFD-8C66-533AAAACACA8}" dt="2023-02-28T05:57:36.948" v="900"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1E3A7C41-47CF-4BFD-8C66-533AAAACACA8}" dt="2023-02-28T05:57:36.315" v="608" actId="790"/>
            <ac:spMkLst>
              <pc:docMk/>
              <pc:sldMasterMk cId="408341288" sldId="2147483648"/>
              <pc:sldLayoutMk cId="3653027901" sldId="2147483672"/>
              <ac:spMk id="3" creationId="{00000000-0000-0000-0000-000000000000}"/>
            </ac:spMkLst>
          </pc:spChg>
          <pc:spChg chg="del mod modVis">
            <ac:chgData name="Tobias Brammer" userId="80a1e1bd-3b82-47a5-b259-da62a397db92" providerId="ADAL" clId="{1E3A7C41-47CF-4BFD-8C66-533AAAACACA8}" dt="2023-02-28T05:57:37.471" v="1680" actId="478"/>
            <ac:spMkLst>
              <pc:docMk/>
              <pc:sldMasterMk cId="408341288" sldId="2147483648"/>
              <pc:sldLayoutMk cId="3653027901" sldId="2147483672"/>
              <ac:spMk id="4" creationId="{4E491861-420D-2A62-CD21-DBDBA777D9D3}"/>
            </ac:spMkLst>
          </pc:spChg>
          <pc:spChg chg="mod">
            <ac:chgData name="Tobias Brammer" userId="80a1e1bd-3b82-47a5-b259-da62a397db92" providerId="ADAL" clId="{1E3A7C41-47CF-4BFD-8C66-533AAAACACA8}" dt="2023-02-28T05:57:36.315" v="609"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1E3A7C41-47CF-4BFD-8C66-533AAAACACA8}" dt="2023-02-28T05:57:36.315" v="606"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1E3A7C41-47CF-4BFD-8C66-533AAAACACA8}" dt="2023-02-28T05:57:36.315" v="611" actId="947"/>
            <ac:spMkLst>
              <pc:docMk/>
              <pc:sldMasterMk cId="408341288" sldId="2147483648"/>
              <pc:sldLayoutMk cId="3653027901" sldId="2147483672"/>
              <ac:spMk id="28" creationId="{297EFA8A-BAF3-4E00-ABAE-12A3938FAD52}"/>
            </ac:spMkLst>
          </pc:spChg>
          <pc:graphicFrameChg chg="mod ord modVis replST">
            <ac:chgData name="Tobias Brammer" userId="80a1e1bd-3b82-47a5-b259-da62a397db92" providerId="ADAL" clId="{1E3A7C41-47CF-4BFD-8C66-533AAAACACA8}" dt="2023-02-28T05:57:37.487" v="1688" actId="1076"/>
            <ac:graphicFrameMkLst>
              <pc:docMk/>
              <pc:sldMasterMk cId="408341288" sldId="2147483648"/>
              <pc:sldLayoutMk cId="3653027901" sldId="2147483672"/>
              <ac:graphicFrameMk id="5" creationId="{9C8B7415-416B-7FE1-937C-81DC5F7AF7F8}"/>
            </ac:graphicFrameMkLst>
          </pc:graphicFrameChg>
        </pc:sldLayoutChg>
        <pc:sldLayoutChg chg="delSp modSp mod">
          <pc:chgData name="Tobias Brammer" userId="80a1e1bd-3b82-47a5-b259-da62a397db92" providerId="ADAL" clId="{1E3A7C41-47CF-4BFD-8C66-533AAAACACA8}" dt="2023-02-28T05:57:37.487" v="1697" actId="1076"/>
          <pc:sldLayoutMkLst>
            <pc:docMk/>
            <pc:sldMasterMk cId="408341288" sldId="2147483648"/>
            <pc:sldLayoutMk cId="2903942727" sldId="2147483673"/>
          </pc:sldLayoutMkLst>
          <pc:spChg chg="mod">
            <ac:chgData name="Tobias Brammer" userId="80a1e1bd-3b82-47a5-b259-da62a397db92" providerId="ADAL" clId="{1E3A7C41-47CF-4BFD-8C66-533AAAACACA8}" dt="2023-02-28T05:57:36.964" v="936"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1E3A7C41-47CF-4BFD-8C66-533AAAACACA8}" dt="2023-02-28T05:57:36.346" v="621" actId="790"/>
            <ac:spMkLst>
              <pc:docMk/>
              <pc:sldMasterMk cId="408341288" sldId="2147483648"/>
              <pc:sldLayoutMk cId="2903942727" sldId="2147483673"/>
              <ac:spMk id="3" creationId="{00000000-0000-0000-0000-000000000000}"/>
            </ac:spMkLst>
          </pc:spChg>
          <pc:spChg chg="del mod modVis">
            <ac:chgData name="Tobias Brammer" userId="80a1e1bd-3b82-47a5-b259-da62a397db92" providerId="ADAL" clId="{1E3A7C41-47CF-4BFD-8C66-533AAAACACA8}" dt="2023-02-28T05:57:37.487" v="1689" actId="478"/>
            <ac:spMkLst>
              <pc:docMk/>
              <pc:sldMasterMk cId="408341288" sldId="2147483648"/>
              <pc:sldLayoutMk cId="2903942727" sldId="2147483673"/>
              <ac:spMk id="4" creationId="{9266C363-095A-36DB-3903-932BA916BB83}"/>
            </ac:spMkLst>
          </pc:spChg>
          <pc:spChg chg="mod">
            <ac:chgData name="Tobias Brammer" userId="80a1e1bd-3b82-47a5-b259-da62a397db92" providerId="ADAL" clId="{1E3A7C41-47CF-4BFD-8C66-533AAAACACA8}" dt="2023-02-28T05:57:36.348" v="624"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1E3A7C41-47CF-4BFD-8C66-533AAAACACA8}" dt="2023-02-28T05:57:36.331" v="619"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1E3A7C41-47CF-4BFD-8C66-533AAAACACA8}" dt="2023-02-28T05:57:36.348" v="625"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1E3A7C41-47CF-4BFD-8C66-533AAAACACA8}" dt="2023-02-28T05:57:36.348" v="623" actId="947"/>
            <ac:spMkLst>
              <pc:docMk/>
              <pc:sldMasterMk cId="408341288" sldId="2147483648"/>
              <pc:sldLayoutMk cId="2903942727" sldId="2147483673"/>
              <ac:spMk id="15" creationId="{D3B39772-6EF8-414F-B8CA-9572DA8DE679}"/>
            </ac:spMkLst>
          </pc:spChg>
          <pc:graphicFrameChg chg="mod ord modVis replST">
            <ac:chgData name="Tobias Brammer" userId="80a1e1bd-3b82-47a5-b259-da62a397db92" providerId="ADAL" clId="{1E3A7C41-47CF-4BFD-8C66-533AAAACACA8}" dt="2023-02-28T05:57:37.487" v="1697" actId="1076"/>
            <ac:graphicFrameMkLst>
              <pc:docMk/>
              <pc:sldMasterMk cId="408341288" sldId="2147483648"/>
              <pc:sldLayoutMk cId="2903942727" sldId="2147483673"/>
              <ac:graphicFrameMk id="5" creationId="{13B33204-4D07-26B3-C91D-431E834A3215}"/>
            </ac:graphicFrameMkLst>
          </pc:graphicFrameChg>
        </pc:sldLayoutChg>
        <pc:sldLayoutChg chg="delSp modSp mod">
          <pc:chgData name="Tobias Brammer" userId="80a1e1bd-3b82-47a5-b259-da62a397db92" providerId="ADAL" clId="{1E3A7C41-47CF-4BFD-8C66-533AAAACACA8}" dt="2023-02-28T05:57:37.518" v="1715" actId="1076"/>
          <pc:sldLayoutMkLst>
            <pc:docMk/>
            <pc:sldMasterMk cId="408341288" sldId="2147483648"/>
            <pc:sldLayoutMk cId="3777408618" sldId="2147483675"/>
          </pc:sldLayoutMkLst>
          <pc:spChg chg="mod">
            <ac:chgData name="Tobias Brammer" userId="80a1e1bd-3b82-47a5-b259-da62a397db92" providerId="ADAL" clId="{1E3A7C41-47CF-4BFD-8C66-533AAAACACA8}" dt="2023-02-28T05:57:37.011" v="1008" actId="948"/>
            <ac:spMkLst>
              <pc:docMk/>
              <pc:sldMasterMk cId="408341288" sldId="2147483648"/>
              <pc:sldLayoutMk cId="3777408618" sldId="2147483675"/>
              <ac:spMk id="2" creationId="{00000000-0000-0000-0000-000000000000}"/>
            </ac:spMkLst>
          </pc:spChg>
          <pc:spChg chg="del mod modVis">
            <ac:chgData name="Tobias Brammer" userId="80a1e1bd-3b82-47a5-b259-da62a397db92" providerId="ADAL" clId="{1E3A7C41-47CF-4BFD-8C66-533AAAACACA8}" dt="2023-02-28T05:57:37.502" v="1707" actId="478"/>
            <ac:spMkLst>
              <pc:docMk/>
              <pc:sldMasterMk cId="408341288" sldId="2147483648"/>
              <pc:sldLayoutMk cId="3777408618" sldId="2147483675"/>
              <ac:spMk id="3" creationId="{55ED0FDF-648C-3FF7-15C4-A66690099AB4}"/>
            </ac:spMkLst>
          </pc:spChg>
          <pc:spChg chg="mod">
            <ac:chgData name="Tobias Brammer" userId="80a1e1bd-3b82-47a5-b259-da62a397db92" providerId="ADAL" clId="{1E3A7C41-47CF-4BFD-8C66-533AAAACACA8}" dt="2023-02-28T05:57:36.348" v="627"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1E3A7C41-47CF-4BFD-8C66-533AAAACACA8}" dt="2023-02-28T05:57:36.348" v="626"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1E3A7C41-47CF-4BFD-8C66-533AAAACACA8}" dt="2023-02-28T05:57:36.364" v="631"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1E3A7C41-47CF-4BFD-8C66-533AAAACACA8}" dt="2023-02-28T05:57:36.348" v="629" actId="947"/>
            <ac:spMkLst>
              <pc:docMk/>
              <pc:sldMasterMk cId="408341288" sldId="2147483648"/>
              <pc:sldLayoutMk cId="3777408618" sldId="2147483675"/>
              <ac:spMk id="12" creationId="{3E26791D-912A-4A89-B575-16A619848A0E}"/>
            </ac:spMkLst>
          </pc:spChg>
          <pc:graphicFrameChg chg="mod ord modVis replST">
            <ac:chgData name="Tobias Brammer" userId="80a1e1bd-3b82-47a5-b259-da62a397db92" providerId="ADAL" clId="{1E3A7C41-47CF-4BFD-8C66-533AAAACACA8}" dt="2023-02-28T05:57:37.518" v="1715" actId="1076"/>
            <ac:graphicFrameMkLst>
              <pc:docMk/>
              <pc:sldMasterMk cId="408341288" sldId="2147483648"/>
              <pc:sldLayoutMk cId="3777408618" sldId="2147483675"/>
              <ac:graphicFrameMk id="4" creationId="{EE13597B-E899-28DA-2685-B261BE4EC78C}"/>
            </ac:graphicFrameMkLst>
          </pc:graphicFrameChg>
        </pc:sldLayoutChg>
        <pc:sldLayoutChg chg="delSp modSp mod">
          <pc:chgData name="Tobias Brammer" userId="80a1e1bd-3b82-47a5-b259-da62a397db92" providerId="ADAL" clId="{1E3A7C41-47CF-4BFD-8C66-533AAAACACA8}" dt="2023-02-28T05:57:37.534" v="1724" actId="1076"/>
          <pc:sldLayoutMkLst>
            <pc:docMk/>
            <pc:sldMasterMk cId="408341288" sldId="2147483648"/>
            <pc:sldLayoutMk cId="803479191" sldId="2147483676"/>
          </pc:sldLayoutMkLst>
          <pc:spChg chg="mod">
            <ac:chgData name="Tobias Brammer" userId="80a1e1bd-3b82-47a5-b259-da62a397db92" providerId="ADAL" clId="{1E3A7C41-47CF-4BFD-8C66-533AAAACACA8}" dt="2023-02-28T05:57:37.048" v="1044" actId="948"/>
            <ac:spMkLst>
              <pc:docMk/>
              <pc:sldMasterMk cId="408341288" sldId="2147483648"/>
              <pc:sldLayoutMk cId="803479191" sldId="2147483676"/>
              <ac:spMk id="2" creationId="{00000000-0000-0000-0000-000000000000}"/>
            </ac:spMkLst>
          </pc:spChg>
          <pc:spChg chg="del mod modVis">
            <ac:chgData name="Tobias Brammer" userId="80a1e1bd-3b82-47a5-b259-da62a397db92" providerId="ADAL" clId="{1E3A7C41-47CF-4BFD-8C66-533AAAACACA8}" dt="2023-02-28T05:57:37.518" v="1716" actId="478"/>
            <ac:spMkLst>
              <pc:docMk/>
              <pc:sldMasterMk cId="408341288" sldId="2147483648"/>
              <pc:sldLayoutMk cId="803479191" sldId="2147483676"/>
              <ac:spMk id="3" creationId="{5E2BC3CA-997B-E9AA-C116-58430ED5E0EC}"/>
            </ac:spMkLst>
          </pc:spChg>
          <pc:spChg chg="mod">
            <ac:chgData name="Tobias Brammer" userId="80a1e1bd-3b82-47a5-b259-da62a397db92" providerId="ADAL" clId="{1E3A7C41-47CF-4BFD-8C66-533AAAACACA8}" dt="2023-02-28T05:57:36.364" v="633"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1E3A7C41-47CF-4BFD-8C66-533AAAACACA8}" dt="2023-02-28T05:57:36.364" v="638"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1E3A7C41-47CF-4BFD-8C66-533AAAACACA8}" dt="2023-02-28T05:57:36.364" v="635"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1E3A7C41-47CF-4BFD-8C66-533AAAACACA8}" dt="2023-02-28T05:57:36.364" v="637" actId="947"/>
            <ac:spMkLst>
              <pc:docMk/>
              <pc:sldMasterMk cId="408341288" sldId="2147483648"/>
              <pc:sldLayoutMk cId="803479191" sldId="2147483676"/>
              <ac:spMk id="34" creationId="{D8329A9B-7465-4D18-8C10-A6F4DC3954EC}"/>
            </ac:spMkLst>
          </pc:spChg>
          <pc:graphicFrameChg chg="mod ord modVis replST">
            <ac:chgData name="Tobias Brammer" userId="80a1e1bd-3b82-47a5-b259-da62a397db92" providerId="ADAL" clId="{1E3A7C41-47CF-4BFD-8C66-533AAAACACA8}" dt="2023-02-28T05:57:37.534" v="1724" actId="1076"/>
            <ac:graphicFrameMkLst>
              <pc:docMk/>
              <pc:sldMasterMk cId="408341288" sldId="2147483648"/>
              <pc:sldLayoutMk cId="803479191" sldId="2147483676"/>
              <ac:graphicFrameMk id="4" creationId="{E19A314B-22AD-EFCE-EA25-5C90DBDE93F0}"/>
            </ac:graphicFrameMkLst>
          </pc:graphicFrameChg>
        </pc:sldLayoutChg>
        <pc:sldLayoutChg chg="delSp modSp mod">
          <pc:chgData name="Tobias Brammer" userId="80a1e1bd-3b82-47a5-b259-da62a397db92" providerId="ADAL" clId="{1E3A7C41-47CF-4BFD-8C66-533AAAACACA8}" dt="2023-02-28T05:57:37.569" v="1742" actId="1076"/>
          <pc:sldLayoutMkLst>
            <pc:docMk/>
            <pc:sldMasterMk cId="408341288" sldId="2147483648"/>
            <pc:sldLayoutMk cId="1348899113" sldId="2147483677"/>
          </pc:sldLayoutMkLst>
          <pc:spChg chg="mod">
            <ac:chgData name="Tobias Brammer" userId="80a1e1bd-3b82-47a5-b259-da62a397db92" providerId="ADAL" clId="{1E3A7C41-47CF-4BFD-8C66-533AAAACACA8}" dt="2023-02-28T05:57:37.095" v="1116" actId="948"/>
            <ac:spMkLst>
              <pc:docMk/>
              <pc:sldMasterMk cId="408341288" sldId="2147483648"/>
              <pc:sldLayoutMk cId="1348899113" sldId="2147483677"/>
              <ac:spMk id="2" creationId="{00000000-0000-0000-0000-000000000000}"/>
            </ac:spMkLst>
          </pc:spChg>
          <pc:spChg chg="del mod modVis">
            <ac:chgData name="Tobias Brammer" userId="80a1e1bd-3b82-47a5-b259-da62a397db92" providerId="ADAL" clId="{1E3A7C41-47CF-4BFD-8C66-533AAAACACA8}" dt="2023-02-28T05:57:37.549" v="1734" actId="478"/>
            <ac:spMkLst>
              <pc:docMk/>
              <pc:sldMasterMk cId="408341288" sldId="2147483648"/>
              <pc:sldLayoutMk cId="1348899113" sldId="2147483677"/>
              <ac:spMk id="3" creationId="{C3010575-1E18-D458-5ED5-3C7B51816370}"/>
            </ac:spMkLst>
          </pc:spChg>
          <pc:spChg chg="mod">
            <ac:chgData name="Tobias Brammer" userId="80a1e1bd-3b82-47a5-b259-da62a397db92" providerId="ADAL" clId="{1E3A7C41-47CF-4BFD-8C66-533AAAACACA8}" dt="2023-02-28T05:57:36.379" v="646"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1E3A7C41-47CF-4BFD-8C66-533AAAACACA8}" dt="2023-02-28T05:57:36.395" v="648"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1E3A7C41-47CF-4BFD-8C66-533AAAACACA8}" dt="2023-02-28T05:57:36.395" v="650"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1E3A7C41-47CF-4BFD-8C66-533AAAACACA8}" dt="2023-02-28T05:57:36.395" v="652"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1E3A7C41-47CF-4BFD-8C66-533AAAACACA8}" dt="2023-02-28T05:57:36.395" v="651" actId="790"/>
            <ac:spMkLst>
              <pc:docMk/>
              <pc:sldMasterMk cId="408341288" sldId="2147483648"/>
              <pc:sldLayoutMk cId="1348899113" sldId="2147483677"/>
              <ac:spMk id="17" creationId="{0496EE00-B7B1-4FBC-AE5D-1ED4C224E899}"/>
            </ac:spMkLst>
          </pc:spChg>
          <pc:graphicFrameChg chg="mod ord modVis replST">
            <ac:chgData name="Tobias Brammer" userId="80a1e1bd-3b82-47a5-b259-da62a397db92" providerId="ADAL" clId="{1E3A7C41-47CF-4BFD-8C66-533AAAACACA8}" dt="2023-02-28T05:57:37.569" v="1742" actId="1076"/>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1E3A7C41-47CF-4BFD-8C66-533AAAACACA8}" dt="2023-02-28T05:57:37.631" v="1777" actId="1076"/>
          <pc:sldLayoutMkLst>
            <pc:docMk/>
            <pc:sldMasterMk cId="408341288" sldId="2147483648"/>
            <pc:sldLayoutMk cId="1421122532" sldId="2147483678"/>
          </pc:sldLayoutMkLst>
          <pc:spChg chg="mod">
            <ac:chgData name="Tobias Brammer" userId="80a1e1bd-3b82-47a5-b259-da62a397db92" providerId="ADAL" clId="{1E3A7C41-47CF-4BFD-8C66-533AAAACACA8}" dt="2023-02-28T05:57:36.548" v="720"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1E3A7C41-47CF-4BFD-8C66-533AAAACACA8}" dt="2023-02-28T05:57:36.548" v="718"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1E3A7C41-47CF-4BFD-8C66-533AAAACACA8}" dt="2023-02-28T05:57:36.563" v="726"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1E3A7C41-47CF-4BFD-8C66-533AAAACACA8}" dt="2023-02-28T05:57:36.548" v="721"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1E3A7C41-47CF-4BFD-8C66-533AAAACACA8}" dt="2023-02-28T05:57:36.548" v="722"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1E3A7C41-47CF-4BFD-8C66-533AAAACACA8}" dt="2023-02-28T05:57:36.563" v="723"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1E3A7C41-47CF-4BFD-8C66-533AAAACACA8}" dt="2023-02-28T05:57:36.563" v="725"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1E3A7C41-47CF-4BFD-8C66-533AAAACACA8}" dt="2023-02-28T05:57:36.548" v="719" actId="790"/>
            <ac:spMkLst>
              <pc:docMk/>
              <pc:sldMasterMk cId="408341288" sldId="2147483648"/>
              <pc:sldLayoutMk cId="1421122532" sldId="2147483678"/>
              <ac:spMk id="36" creationId="{E965B3AD-EE9F-4A21-8AAE-0CF487A6FB7B}"/>
            </ac:spMkLst>
          </pc:spChg>
          <pc:graphicFrameChg chg="mod ord modVis replST">
            <ac:chgData name="Tobias Brammer" userId="80a1e1bd-3b82-47a5-b259-da62a397db92" providerId="ADAL" clId="{1E3A7C41-47CF-4BFD-8C66-533AAAACACA8}" dt="2023-02-28T05:57:37.631" v="1777" actId="1076"/>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1E3A7C41-47CF-4BFD-8C66-533AAAACACA8}" dt="2023-02-28T05:57:37.696" v="1811" actId="1076"/>
          <pc:sldLayoutMkLst>
            <pc:docMk/>
            <pc:sldMasterMk cId="408341288" sldId="2147483648"/>
            <pc:sldLayoutMk cId="1013684879" sldId="2147483679"/>
          </pc:sldLayoutMkLst>
          <pc:spChg chg="mod">
            <ac:chgData name="Tobias Brammer" userId="80a1e1bd-3b82-47a5-b259-da62a397db92" providerId="ADAL" clId="{1E3A7C41-47CF-4BFD-8C66-533AAAACACA8}" dt="2023-02-28T05:57:36.563" v="730"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1E3A7C41-47CF-4BFD-8C66-533AAAACACA8}" dt="2023-02-28T05:57:36.563" v="731"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1E3A7C41-47CF-4BFD-8C66-533AAAACACA8}" dt="2023-02-28T05:57:36.563" v="727"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1E3A7C41-47CF-4BFD-8C66-533AAAACACA8}" dt="2023-02-28T05:57:36.563" v="728"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1E3A7C41-47CF-4BFD-8C66-533AAAACACA8}" dt="2023-02-28T05:57:36.563" v="729" actId="790"/>
            <ac:spMkLst>
              <pc:docMk/>
              <pc:sldMasterMk cId="408341288" sldId="2147483648"/>
              <pc:sldLayoutMk cId="1013684879" sldId="2147483679"/>
              <ac:spMk id="12" creationId="{C971CBE6-8195-46E1-AEA2-BD555ECCC0A9}"/>
            </ac:spMkLst>
          </pc:spChg>
          <pc:graphicFrameChg chg="mod ord modVis replST">
            <ac:chgData name="Tobias Brammer" userId="80a1e1bd-3b82-47a5-b259-da62a397db92" providerId="ADAL" clId="{1E3A7C41-47CF-4BFD-8C66-533AAAACACA8}" dt="2023-02-28T05:57:37.696" v="1811" actId="1076"/>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1E3A7C41-47CF-4BFD-8C66-533AAAACACA8}" dt="2023-02-28T05:57:37.664" v="1794" actId="1076"/>
          <pc:sldLayoutMkLst>
            <pc:docMk/>
            <pc:sldMasterMk cId="408341288" sldId="2147483648"/>
            <pc:sldLayoutMk cId="3945193607" sldId="2147483680"/>
          </pc:sldLayoutMkLst>
          <pc:spChg chg="mod">
            <ac:chgData name="Tobias Brammer" userId="80a1e1bd-3b82-47a5-b259-da62a397db92" providerId="ADAL" clId="{1E3A7C41-47CF-4BFD-8C66-533AAAACACA8}" dt="2023-02-28T05:57:36.595" v="746"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1E3A7C41-47CF-4BFD-8C66-533AAAACACA8}" dt="2023-02-28T05:57:36.579" v="734"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1E3A7C41-47CF-4BFD-8C66-533AAAACACA8}" dt="2023-02-28T05:57:36.579" v="736"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1E3A7C41-47CF-4BFD-8C66-533AAAACACA8}" dt="2023-02-28T05:57:36.579" v="738"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1E3A7C41-47CF-4BFD-8C66-533AAAACACA8}" dt="2023-02-28T05:57:36.579" v="745"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1E3A7C41-47CF-4BFD-8C66-533AAAACACA8}" dt="2023-02-28T05:57:36.579" v="740"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1E3A7C41-47CF-4BFD-8C66-533AAAACACA8}" dt="2023-02-28T05:57:36.579" v="742"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1E3A7C41-47CF-4BFD-8C66-533AAAACACA8}" dt="2023-02-28T05:57:36.579" v="743"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1E3A7C41-47CF-4BFD-8C66-533AAAACACA8}" dt="2023-02-28T05:57:36.579" v="744" actId="790"/>
            <ac:spMkLst>
              <pc:docMk/>
              <pc:sldMasterMk cId="408341288" sldId="2147483648"/>
              <pc:sldLayoutMk cId="3945193607" sldId="2147483680"/>
              <ac:spMk id="37" creationId="{DBA9BEEB-9A9C-4E0D-B111-7218E5CD52D1}"/>
            </ac:spMkLst>
          </pc:spChg>
          <pc:graphicFrameChg chg="mod ord modVis replST">
            <ac:chgData name="Tobias Brammer" userId="80a1e1bd-3b82-47a5-b259-da62a397db92" providerId="ADAL" clId="{1E3A7C41-47CF-4BFD-8C66-533AAAACACA8}" dt="2023-02-28T05:57:37.664" v="1794" actId="1076"/>
            <ac:graphicFrameMkLst>
              <pc:docMk/>
              <pc:sldMasterMk cId="408341288" sldId="2147483648"/>
              <pc:sldLayoutMk cId="3945193607" sldId="2147483680"/>
              <ac:graphicFrameMk id="2" creationId="{B2B34963-242D-90C7-1E7A-AB958EBC24B4}"/>
            </ac:graphicFrameMkLst>
          </pc:graphicFrameChg>
        </pc:sldLayoutChg>
        <pc:sldLayoutChg chg="delSp modSp mod">
          <pc:chgData name="Tobias Brammer" userId="80a1e1bd-3b82-47a5-b259-da62a397db92" providerId="ADAL" clId="{1E3A7C41-47CF-4BFD-8C66-533AAAACACA8}" dt="2023-02-28T05:57:37.711" v="1820" actId="1076"/>
          <pc:sldLayoutMkLst>
            <pc:docMk/>
            <pc:sldMasterMk cId="408341288" sldId="2147483648"/>
            <pc:sldLayoutMk cId="547289489" sldId="2147483681"/>
          </pc:sldLayoutMkLst>
          <pc:spChg chg="mod">
            <ac:chgData name="Tobias Brammer" userId="80a1e1bd-3b82-47a5-b259-da62a397db92" providerId="ADAL" clId="{1E3A7C41-47CF-4BFD-8C66-533AAAACACA8}" dt="2023-02-28T05:57:37.242" v="1332" actId="948"/>
            <ac:spMkLst>
              <pc:docMk/>
              <pc:sldMasterMk cId="408341288" sldId="2147483648"/>
              <pc:sldLayoutMk cId="547289489" sldId="2147483681"/>
              <ac:spMk id="2" creationId="{A45B6DFC-9623-4183-8403-5AF3E92605AA}"/>
            </ac:spMkLst>
          </pc:spChg>
          <pc:spChg chg="del mod modVis">
            <ac:chgData name="Tobias Brammer" userId="80a1e1bd-3b82-47a5-b259-da62a397db92" providerId="ADAL" clId="{1E3A7C41-47CF-4BFD-8C66-533AAAACACA8}" dt="2023-02-28T05:57:37.696" v="1812" actId="478"/>
            <ac:spMkLst>
              <pc:docMk/>
              <pc:sldMasterMk cId="408341288" sldId="2147483648"/>
              <pc:sldLayoutMk cId="547289489" sldId="2147483681"/>
              <ac:spMk id="3" creationId="{A7B256D0-0A5B-F73E-2960-ABC9DE017F75}"/>
            </ac:spMkLst>
          </pc:spChg>
          <pc:spChg chg="mod">
            <ac:chgData name="Tobias Brammer" userId="80a1e1bd-3b82-47a5-b259-da62a397db92" providerId="ADAL" clId="{1E3A7C41-47CF-4BFD-8C66-533AAAACACA8}" dt="2023-02-28T05:57:36.411" v="661"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1E3A7C41-47CF-4BFD-8C66-533AAAACACA8}" dt="2023-02-28T05:57:36.411" v="659"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1E3A7C41-47CF-4BFD-8C66-533AAAACACA8}" dt="2023-02-28T05:57:36.411" v="662"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1E3A7C41-47CF-4BFD-8C66-533AAAACACA8}" dt="2023-02-28T05:57:36.426" v="664" actId="947"/>
            <ac:spMkLst>
              <pc:docMk/>
              <pc:sldMasterMk cId="408341288" sldId="2147483648"/>
              <pc:sldLayoutMk cId="547289489" sldId="2147483681"/>
              <ac:spMk id="13" creationId="{C967A86E-1E38-460F-9723-9D24C8DEEF8B}"/>
            </ac:spMkLst>
          </pc:spChg>
          <pc:graphicFrameChg chg="mod ord modVis replST">
            <ac:chgData name="Tobias Brammer" userId="80a1e1bd-3b82-47a5-b259-da62a397db92" providerId="ADAL" clId="{1E3A7C41-47CF-4BFD-8C66-533AAAACACA8}" dt="2023-02-28T05:57:37.711" v="1820" actId="1076"/>
            <ac:graphicFrameMkLst>
              <pc:docMk/>
              <pc:sldMasterMk cId="408341288" sldId="2147483648"/>
              <pc:sldLayoutMk cId="547289489" sldId="2147483681"/>
              <ac:graphicFrameMk id="4" creationId="{F3EE7813-74C2-F8E1-D412-BE30BC2B57C4}"/>
            </ac:graphicFrameMkLst>
          </pc:graphicFrameChg>
        </pc:sldLayoutChg>
        <pc:sldLayoutChg chg="delSp modSp mod">
          <pc:chgData name="Tobias Brammer" userId="80a1e1bd-3b82-47a5-b259-da62a397db92" providerId="ADAL" clId="{1E3A7C41-47CF-4BFD-8C66-533AAAACACA8}" dt="2023-02-28T05:57:37.727" v="1829" actId="1076"/>
          <pc:sldLayoutMkLst>
            <pc:docMk/>
            <pc:sldMasterMk cId="408341288" sldId="2147483648"/>
            <pc:sldLayoutMk cId="1364635059" sldId="2147483682"/>
          </pc:sldLayoutMkLst>
          <pc:spChg chg="mod">
            <ac:chgData name="Tobias Brammer" userId="80a1e1bd-3b82-47a5-b259-da62a397db92" providerId="ADAL" clId="{1E3A7C41-47CF-4BFD-8C66-533AAAACACA8}" dt="2023-02-28T05:57:37.264" v="1368" actId="948"/>
            <ac:spMkLst>
              <pc:docMk/>
              <pc:sldMasterMk cId="408341288" sldId="2147483648"/>
              <pc:sldLayoutMk cId="1364635059" sldId="2147483682"/>
              <ac:spMk id="2" creationId="{A45B6DFC-9623-4183-8403-5AF3E92605AA}"/>
            </ac:spMkLst>
          </pc:spChg>
          <pc:spChg chg="del mod modVis">
            <ac:chgData name="Tobias Brammer" userId="80a1e1bd-3b82-47a5-b259-da62a397db92" providerId="ADAL" clId="{1E3A7C41-47CF-4BFD-8C66-533AAAACACA8}" dt="2023-02-28T05:57:37.711" v="1821" actId="478"/>
            <ac:spMkLst>
              <pc:docMk/>
              <pc:sldMasterMk cId="408341288" sldId="2147483648"/>
              <pc:sldLayoutMk cId="1364635059" sldId="2147483682"/>
              <ac:spMk id="3" creationId="{63019E8B-7838-845C-7A3A-35396FF89897}"/>
            </ac:spMkLst>
          </pc:spChg>
          <pc:spChg chg="mod">
            <ac:chgData name="Tobias Brammer" userId="80a1e1bd-3b82-47a5-b259-da62a397db92" providerId="ADAL" clId="{1E3A7C41-47CF-4BFD-8C66-533AAAACACA8}" dt="2023-02-28T05:57:36.426" v="667"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1E3A7C41-47CF-4BFD-8C66-533AAAACACA8}" dt="2023-02-28T05:57:36.426" v="665"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1E3A7C41-47CF-4BFD-8C66-533AAAACACA8}" dt="2023-02-28T05:57:36.426" v="668"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1E3A7C41-47CF-4BFD-8C66-533AAAACACA8}" dt="2023-02-28T05:57:36.426" v="670" actId="947"/>
            <ac:spMkLst>
              <pc:docMk/>
              <pc:sldMasterMk cId="408341288" sldId="2147483648"/>
              <pc:sldLayoutMk cId="1364635059" sldId="2147483682"/>
              <ac:spMk id="13" creationId="{18590422-9BE5-4289-94F5-8531586DFCD8}"/>
            </ac:spMkLst>
          </pc:spChg>
          <pc:graphicFrameChg chg="mod ord modVis replST">
            <ac:chgData name="Tobias Brammer" userId="80a1e1bd-3b82-47a5-b259-da62a397db92" providerId="ADAL" clId="{1E3A7C41-47CF-4BFD-8C66-533AAAACACA8}" dt="2023-02-28T05:57:37.727" v="1829" actId="1076"/>
            <ac:graphicFrameMkLst>
              <pc:docMk/>
              <pc:sldMasterMk cId="408341288" sldId="2147483648"/>
              <pc:sldLayoutMk cId="1364635059" sldId="2147483682"/>
              <ac:graphicFrameMk id="4" creationId="{C012E119-F5DD-6106-9214-36AB682F7F06}"/>
            </ac:graphicFrameMkLst>
          </pc:graphicFrameChg>
        </pc:sldLayoutChg>
        <pc:sldLayoutChg chg="delSp modSp mod">
          <pc:chgData name="Tobias Brammer" userId="80a1e1bd-3b82-47a5-b259-da62a397db92" providerId="ADAL" clId="{1E3A7C41-47CF-4BFD-8C66-533AAAACACA8}" dt="2023-02-28T05:57:37.780" v="1856" actId="1076"/>
          <pc:sldLayoutMkLst>
            <pc:docMk/>
            <pc:sldMasterMk cId="408341288" sldId="2147483648"/>
            <pc:sldLayoutMk cId="3912777144" sldId="2147483683"/>
          </pc:sldLayoutMkLst>
          <pc:spChg chg="del mod modVis">
            <ac:chgData name="Tobias Brammer" userId="80a1e1bd-3b82-47a5-b259-da62a397db92" providerId="ADAL" clId="{1E3A7C41-47CF-4BFD-8C66-533AAAACACA8}" dt="2023-02-28T05:57:37.764" v="1848" actId="478"/>
            <ac:spMkLst>
              <pc:docMk/>
              <pc:sldMasterMk cId="408341288" sldId="2147483648"/>
              <pc:sldLayoutMk cId="3912777144" sldId="2147483683"/>
              <ac:spMk id="2" creationId="{0F598405-7069-128A-8C54-ACA789BA2F54}"/>
            </ac:spMkLst>
          </pc:spChg>
          <pc:spChg chg="mod">
            <ac:chgData name="Tobias Brammer" userId="80a1e1bd-3b82-47a5-b259-da62a397db92" providerId="ADAL" clId="{1E3A7C41-47CF-4BFD-8C66-533AAAACACA8}" dt="2023-02-28T05:57:36.442" v="674"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1E3A7C41-47CF-4BFD-8C66-533AAAACACA8}" dt="2023-02-28T05:57:36.426" v="671"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1E3A7C41-47CF-4BFD-8C66-533AAAACACA8}" dt="2023-02-28T05:57:36.448" v="675"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1E3A7C41-47CF-4BFD-8C66-533AAAACACA8}" dt="2023-02-28T05:57:37.327" v="1476"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1E3A7C41-47CF-4BFD-8C66-533AAAACACA8}" dt="2023-02-28T05:57:36.448" v="676"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1E3A7C41-47CF-4BFD-8C66-533AAAACACA8}" dt="2023-02-28T05:57:36.442" v="672"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1E3A7C41-47CF-4BFD-8C66-533AAAACACA8}" dt="2023-02-28T05:57:36.448" v="678" actId="947"/>
            <ac:spMkLst>
              <pc:docMk/>
              <pc:sldMasterMk cId="408341288" sldId="2147483648"/>
              <pc:sldLayoutMk cId="3912777144" sldId="2147483683"/>
              <ac:spMk id="33" creationId="{C96493EE-CEB4-4D66-95C2-0B294097E5C1}"/>
            </ac:spMkLst>
          </pc:spChg>
          <pc:graphicFrameChg chg="mod ord modVis replST">
            <ac:chgData name="Tobias Brammer" userId="80a1e1bd-3b82-47a5-b259-da62a397db92" providerId="ADAL" clId="{1E3A7C41-47CF-4BFD-8C66-533AAAACACA8}" dt="2023-02-28T05:57:37.780" v="1856" actId="1076"/>
            <ac:graphicFrameMkLst>
              <pc:docMk/>
              <pc:sldMasterMk cId="408341288" sldId="2147483648"/>
              <pc:sldLayoutMk cId="3912777144" sldId="2147483683"/>
              <ac:graphicFrameMk id="3" creationId="{DB55FE80-6286-289B-DD1E-C57D0B5F519F}"/>
            </ac:graphicFrameMkLst>
          </pc:graphicFrameChg>
        </pc:sldLayoutChg>
        <pc:sldLayoutChg chg="delSp modSp mod">
          <pc:chgData name="Tobias Brammer" userId="80a1e1bd-3b82-47a5-b259-da62a397db92" providerId="ADAL" clId="{1E3A7C41-47CF-4BFD-8C66-533AAAACACA8}" dt="2023-02-28T05:57:37.749" v="1838" actId="1076"/>
          <pc:sldLayoutMkLst>
            <pc:docMk/>
            <pc:sldMasterMk cId="408341288" sldId="2147483648"/>
            <pc:sldLayoutMk cId="3865668458" sldId="2147483684"/>
          </pc:sldLayoutMkLst>
          <pc:spChg chg="mod">
            <ac:chgData name="Tobias Brammer" userId="80a1e1bd-3b82-47a5-b259-da62a397db92" providerId="ADAL" clId="{1E3A7C41-47CF-4BFD-8C66-533AAAACACA8}" dt="2023-02-28T05:57:37.280" v="1404" actId="948"/>
            <ac:spMkLst>
              <pc:docMk/>
              <pc:sldMasterMk cId="408341288" sldId="2147483648"/>
              <pc:sldLayoutMk cId="3865668458" sldId="2147483684"/>
              <ac:spMk id="2" creationId="{41406E95-0077-466F-B205-C9B6361A1F13}"/>
            </ac:spMkLst>
          </pc:spChg>
          <pc:spChg chg="del mod modVis">
            <ac:chgData name="Tobias Brammer" userId="80a1e1bd-3b82-47a5-b259-da62a397db92" providerId="ADAL" clId="{1E3A7C41-47CF-4BFD-8C66-533AAAACACA8}" dt="2023-02-28T05:57:37.727" v="1830" actId="478"/>
            <ac:spMkLst>
              <pc:docMk/>
              <pc:sldMasterMk cId="408341288" sldId="2147483648"/>
              <pc:sldLayoutMk cId="3865668458" sldId="2147483684"/>
              <ac:spMk id="3" creationId="{085BE295-83D4-FE7D-101D-DD25F4B78528}"/>
            </ac:spMkLst>
          </pc:spChg>
          <pc:spChg chg="mod">
            <ac:chgData name="Tobias Brammer" userId="80a1e1bd-3b82-47a5-b259-da62a397db92" providerId="ADAL" clId="{1E3A7C41-47CF-4BFD-8C66-533AAAACACA8}" dt="2023-02-28T05:57:36.448" v="680"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1E3A7C41-47CF-4BFD-8C66-533AAAACACA8}" dt="2023-02-28T05:57:36.448" v="681"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1E3A7C41-47CF-4BFD-8C66-533AAAACACA8}" dt="2023-02-28T05:57:36.463" v="682" actId="790"/>
            <ac:spMkLst>
              <pc:docMk/>
              <pc:sldMasterMk cId="408341288" sldId="2147483648"/>
              <pc:sldLayoutMk cId="3865668458" sldId="2147483684"/>
              <ac:spMk id="9" creationId="{2A765D59-1E8F-45BF-9694-4433FBE0A66E}"/>
            </ac:spMkLst>
          </pc:spChg>
          <pc:graphicFrameChg chg="mod ord modVis replST">
            <ac:chgData name="Tobias Brammer" userId="80a1e1bd-3b82-47a5-b259-da62a397db92" providerId="ADAL" clId="{1E3A7C41-47CF-4BFD-8C66-533AAAACACA8}" dt="2023-02-28T05:57:37.749" v="1838" actId="1076"/>
            <ac:graphicFrameMkLst>
              <pc:docMk/>
              <pc:sldMasterMk cId="408341288" sldId="2147483648"/>
              <pc:sldLayoutMk cId="3865668458" sldId="2147483684"/>
              <ac:graphicFrameMk id="4" creationId="{06E8AE74-7B17-EDE3-BB81-AD934018C725}"/>
            </ac:graphicFrameMkLst>
          </pc:graphicFrameChg>
        </pc:sldLayoutChg>
        <pc:sldLayoutChg chg="delSp modSp mod">
          <pc:chgData name="Tobias Brammer" userId="80a1e1bd-3b82-47a5-b259-da62a397db92" providerId="ADAL" clId="{1E3A7C41-47CF-4BFD-8C66-533AAAACACA8}" dt="2023-02-28T05:57:37.764" v="1847" actId="1076"/>
          <pc:sldLayoutMkLst>
            <pc:docMk/>
            <pc:sldMasterMk cId="408341288" sldId="2147483648"/>
            <pc:sldLayoutMk cId="1230172900" sldId="2147483685"/>
          </pc:sldLayoutMkLst>
          <pc:spChg chg="mod">
            <ac:chgData name="Tobias Brammer" userId="80a1e1bd-3b82-47a5-b259-da62a397db92" providerId="ADAL" clId="{1E3A7C41-47CF-4BFD-8C66-533AAAACACA8}" dt="2023-02-28T05:57:37.311" v="1440" actId="948"/>
            <ac:spMkLst>
              <pc:docMk/>
              <pc:sldMasterMk cId="408341288" sldId="2147483648"/>
              <pc:sldLayoutMk cId="1230172900" sldId="2147483685"/>
              <ac:spMk id="2" creationId="{41406E95-0077-466F-B205-C9B6361A1F13}"/>
            </ac:spMkLst>
          </pc:spChg>
          <pc:spChg chg="del mod modVis">
            <ac:chgData name="Tobias Brammer" userId="80a1e1bd-3b82-47a5-b259-da62a397db92" providerId="ADAL" clId="{1E3A7C41-47CF-4BFD-8C66-533AAAACACA8}" dt="2023-02-28T05:57:37.749" v="1839" actId="478"/>
            <ac:spMkLst>
              <pc:docMk/>
              <pc:sldMasterMk cId="408341288" sldId="2147483648"/>
              <pc:sldLayoutMk cId="1230172900" sldId="2147483685"/>
              <ac:spMk id="3" creationId="{490375B6-D132-CA2E-7ED6-996D0D91A7DD}"/>
            </ac:spMkLst>
          </pc:spChg>
          <pc:spChg chg="mod">
            <ac:chgData name="Tobias Brammer" userId="80a1e1bd-3b82-47a5-b259-da62a397db92" providerId="ADAL" clId="{1E3A7C41-47CF-4BFD-8C66-533AAAACACA8}" dt="2023-02-28T05:57:36.463" v="684"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1E3A7C41-47CF-4BFD-8C66-533AAAACACA8}" dt="2023-02-28T05:57:36.463" v="685"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1E3A7C41-47CF-4BFD-8C66-533AAAACACA8}" dt="2023-02-28T05:57:36.463" v="686"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1E3A7C41-47CF-4BFD-8C66-533AAAACACA8}" dt="2023-02-28T05:57:36.479" v="687" actId="790"/>
            <ac:spMkLst>
              <pc:docMk/>
              <pc:sldMasterMk cId="408341288" sldId="2147483648"/>
              <pc:sldLayoutMk cId="1230172900" sldId="2147483685"/>
              <ac:spMk id="9" creationId="{2A765D59-1E8F-45BF-9694-4433FBE0A66E}"/>
            </ac:spMkLst>
          </pc:spChg>
          <pc:graphicFrameChg chg="mod ord modVis replST">
            <ac:chgData name="Tobias Brammer" userId="80a1e1bd-3b82-47a5-b259-da62a397db92" providerId="ADAL" clId="{1E3A7C41-47CF-4BFD-8C66-533AAAACACA8}" dt="2023-02-28T05:57:37.764" v="1847" actId="1076"/>
            <ac:graphicFrameMkLst>
              <pc:docMk/>
              <pc:sldMasterMk cId="408341288" sldId="2147483648"/>
              <pc:sldLayoutMk cId="1230172900" sldId="2147483685"/>
              <ac:graphicFrameMk id="4" creationId="{E87B03DB-BAEC-5561-E2F2-6CA14020B0FA}"/>
            </ac:graphicFrameMkLst>
          </pc:graphicFrameChg>
        </pc:sldLayoutChg>
        <pc:sldLayoutChg chg="delSp modSp mod">
          <pc:chgData name="Tobias Brammer" userId="80a1e1bd-3b82-47a5-b259-da62a397db92" providerId="ADAL" clId="{1E3A7C41-47CF-4BFD-8C66-533AAAACACA8}" dt="2023-02-28T05:57:37.585" v="1751" actId="1076"/>
          <pc:sldLayoutMkLst>
            <pc:docMk/>
            <pc:sldMasterMk cId="408341288" sldId="2147483648"/>
            <pc:sldLayoutMk cId="1463015649" sldId="2147483686"/>
          </pc:sldLayoutMkLst>
          <pc:spChg chg="mod">
            <ac:chgData name="Tobias Brammer" userId="80a1e1bd-3b82-47a5-b259-da62a397db92" providerId="ADAL" clId="{1E3A7C41-47CF-4BFD-8C66-533AAAACACA8}" dt="2023-02-28T05:57:37.111" v="1152" actId="948"/>
            <ac:spMkLst>
              <pc:docMk/>
              <pc:sldMasterMk cId="408341288" sldId="2147483648"/>
              <pc:sldLayoutMk cId="1463015649" sldId="2147483686"/>
              <ac:spMk id="2" creationId="{41406E95-0077-466F-B205-C9B6361A1F13}"/>
            </ac:spMkLst>
          </pc:spChg>
          <pc:spChg chg="del mod modVis">
            <ac:chgData name="Tobias Brammer" userId="80a1e1bd-3b82-47a5-b259-da62a397db92" providerId="ADAL" clId="{1E3A7C41-47CF-4BFD-8C66-533AAAACACA8}" dt="2023-02-28T05:57:37.569" v="1743" actId="478"/>
            <ac:spMkLst>
              <pc:docMk/>
              <pc:sldMasterMk cId="408341288" sldId="2147483648"/>
              <pc:sldLayoutMk cId="1463015649" sldId="2147483686"/>
              <ac:spMk id="3" creationId="{B42C3518-54C6-00D9-EDFD-62B63C16BB75}"/>
            </ac:spMkLst>
          </pc:spChg>
          <pc:spChg chg="mod">
            <ac:chgData name="Tobias Brammer" userId="80a1e1bd-3b82-47a5-b259-da62a397db92" providerId="ADAL" clId="{1E3A7C41-47CF-4BFD-8C66-533AAAACACA8}" dt="2023-02-28T05:57:36.479" v="689"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1E3A7C41-47CF-4BFD-8C66-533AAAACACA8}" dt="2023-02-28T05:57:36.479" v="690"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1E3A7C41-47CF-4BFD-8C66-533AAAACACA8}" dt="2023-02-28T05:57:36.479" v="691"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1E3A7C41-47CF-4BFD-8C66-533AAAACACA8}" dt="2023-02-28T05:57:36.479" v="692"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1E3A7C41-47CF-4BFD-8C66-533AAAACACA8}" dt="2023-02-28T05:57:36.495" v="693" actId="790"/>
            <ac:spMkLst>
              <pc:docMk/>
              <pc:sldMasterMk cId="408341288" sldId="2147483648"/>
              <pc:sldLayoutMk cId="1463015649" sldId="2147483686"/>
              <ac:spMk id="10" creationId="{6A45B6CB-352F-4E32-AF69-C299C10A51C2}"/>
            </ac:spMkLst>
          </pc:spChg>
          <pc:graphicFrameChg chg="mod ord modVis replST">
            <ac:chgData name="Tobias Brammer" userId="80a1e1bd-3b82-47a5-b259-da62a397db92" providerId="ADAL" clId="{1E3A7C41-47CF-4BFD-8C66-533AAAACACA8}" dt="2023-02-28T05:57:37.585" v="1751" actId="1076"/>
            <ac:graphicFrameMkLst>
              <pc:docMk/>
              <pc:sldMasterMk cId="408341288" sldId="2147483648"/>
              <pc:sldLayoutMk cId="1463015649" sldId="2147483686"/>
              <ac:graphicFrameMk id="4" creationId="{A407E8C6-0376-2DE4-3C8E-914D1A021849}"/>
            </ac:graphicFrameMkLst>
          </pc:graphicFrameChg>
        </pc:sldLayoutChg>
        <pc:sldLayoutChg chg="delSp modSp mod">
          <pc:chgData name="Tobias Brammer" userId="80a1e1bd-3b82-47a5-b259-da62a397db92" providerId="ADAL" clId="{1E3A7C41-47CF-4BFD-8C66-533AAAACACA8}" dt="2023-02-28T05:57:37.616" v="1769" actId="1076"/>
          <pc:sldLayoutMkLst>
            <pc:docMk/>
            <pc:sldMasterMk cId="408341288" sldId="2147483648"/>
            <pc:sldLayoutMk cId="3511884162" sldId="2147483687"/>
          </pc:sldLayoutMkLst>
          <pc:spChg chg="mod">
            <ac:chgData name="Tobias Brammer" userId="80a1e1bd-3b82-47a5-b259-da62a397db92" providerId="ADAL" clId="{1E3A7C41-47CF-4BFD-8C66-533AAAACACA8}" dt="2023-02-28T05:57:37.164" v="1224" actId="948"/>
            <ac:spMkLst>
              <pc:docMk/>
              <pc:sldMasterMk cId="408341288" sldId="2147483648"/>
              <pc:sldLayoutMk cId="3511884162" sldId="2147483687"/>
              <ac:spMk id="2" creationId="{41406E95-0077-466F-B205-C9B6361A1F13}"/>
            </ac:spMkLst>
          </pc:spChg>
          <pc:spChg chg="del mod modVis">
            <ac:chgData name="Tobias Brammer" userId="80a1e1bd-3b82-47a5-b259-da62a397db92" providerId="ADAL" clId="{1E3A7C41-47CF-4BFD-8C66-533AAAACACA8}" dt="2023-02-28T05:57:37.600" v="1761" actId="478"/>
            <ac:spMkLst>
              <pc:docMk/>
              <pc:sldMasterMk cId="408341288" sldId="2147483648"/>
              <pc:sldLayoutMk cId="3511884162" sldId="2147483687"/>
              <ac:spMk id="3" creationId="{BB9B6ED2-FCA7-69C4-A50D-ED430D15C218}"/>
            </ac:spMkLst>
          </pc:spChg>
          <pc:spChg chg="mod">
            <ac:chgData name="Tobias Brammer" userId="80a1e1bd-3b82-47a5-b259-da62a397db92" providerId="ADAL" clId="{1E3A7C41-47CF-4BFD-8C66-533AAAACACA8}" dt="2023-02-28T05:57:36.510" v="701"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1E3A7C41-47CF-4BFD-8C66-533AAAACACA8}" dt="2023-02-28T05:57:36.510" v="702"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1E3A7C41-47CF-4BFD-8C66-533AAAACACA8}" dt="2023-02-28T05:57:36.510" v="703"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1E3A7C41-47CF-4BFD-8C66-533AAAACACA8}" dt="2023-02-28T05:57:36.510" v="704"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1E3A7C41-47CF-4BFD-8C66-533AAAACACA8}" dt="2023-02-28T05:57:36.527" v="705"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1E3A7C41-47CF-4BFD-8C66-533AAAACACA8}" dt="2023-02-28T05:57:36.528" v="706"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1E3A7C41-47CF-4BFD-8C66-533AAAACACA8}" dt="2023-02-28T05:57:36.528" v="707" actId="790"/>
            <ac:spMkLst>
              <pc:docMk/>
              <pc:sldMasterMk cId="408341288" sldId="2147483648"/>
              <pc:sldLayoutMk cId="3511884162" sldId="2147483687"/>
              <ac:spMk id="14" creationId="{4377A560-23C0-491F-BDB7-C58123E772DF}"/>
            </ac:spMkLst>
          </pc:spChg>
          <pc:graphicFrameChg chg="mod ord modVis replST">
            <ac:chgData name="Tobias Brammer" userId="80a1e1bd-3b82-47a5-b259-da62a397db92" providerId="ADAL" clId="{1E3A7C41-47CF-4BFD-8C66-533AAAACACA8}" dt="2023-02-28T05:57:37.616" v="1769" actId="1076"/>
            <ac:graphicFrameMkLst>
              <pc:docMk/>
              <pc:sldMasterMk cId="408341288" sldId="2147483648"/>
              <pc:sldLayoutMk cId="3511884162" sldId="2147483687"/>
              <ac:graphicFrameMk id="4" creationId="{894B3E18-6AF9-96A9-7EF6-3F8F268D7B69}"/>
            </ac:graphicFrameMkLst>
          </pc:graphicFrameChg>
        </pc:sldLayoutChg>
        <pc:sldLayoutChg chg="delSp modSp mod">
          <pc:chgData name="Tobias Brammer" userId="80a1e1bd-3b82-47a5-b259-da62a397db92" providerId="ADAL" clId="{1E3A7C41-47CF-4BFD-8C66-533AAAACACA8}" dt="2023-02-28T05:57:37.649" v="1786" actId="1076"/>
          <pc:sldLayoutMkLst>
            <pc:docMk/>
            <pc:sldMasterMk cId="408341288" sldId="2147483648"/>
            <pc:sldLayoutMk cId="1427491588" sldId="2147483688"/>
          </pc:sldLayoutMkLst>
          <pc:spChg chg="mod">
            <ac:chgData name="Tobias Brammer" userId="80a1e1bd-3b82-47a5-b259-da62a397db92" providerId="ADAL" clId="{1E3A7C41-47CF-4BFD-8C66-533AAAACACA8}" dt="2023-02-28T05:57:37.180" v="1260" actId="948"/>
            <ac:spMkLst>
              <pc:docMk/>
              <pc:sldMasterMk cId="408341288" sldId="2147483648"/>
              <pc:sldLayoutMk cId="1427491588" sldId="2147483688"/>
              <ac:spMk id="2" creationId="{41406E95-0077-466F-B205-C9B6361A1F13}"/>
            </ac:spMkLst>
          </pc:spChg>
          <pc:spChg chg="del mod modVis">
            <ac:chgData name="Tobias Brammer" userId="80a1e1bd-3b82-47a5-b259-da62a397db92" providerId="ADAL" clId="{1E3A7C41-47CF-4BFD-8C66-533AAAACACA8}" dt="2023-02-28T05:57:37.631" v="1778" actId="478"/>
            <ac:spMkLst>
              <pc:docMk/>
              <pc:sldMasterMk cId="408341288" sldId="2147483648"/>
              <pc:sldLayoutMk cId="1427491588" sldId="2147483688"/>
              <ac:spMk id="3" creationId="{143EBB72-D2A2-6519-2E58-2BC8DFCE10BB}"/>
            </ac:spMkLst>
          </pc:spChg>
          <pc:spChg chg="mod">
            <ac:chgData name="Tobias Brammer" userId="80a1e1bd-3b82-47a5-b259-da62a397db92" providerId="ADAL" clId="{1E3A7C41-47CF-4BFD-8C66-533AAAACACA8}" dt="2023-02-28T05:57:36.528" v="709"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1E3A7C41-47CF-4BFD-8C66-533AAAACACA8}" dt="2023-02-28T05:57:36.528" v="710"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1E3A7C41-47CF-4BFD-8C66-533AAAACACA8}" dt="2023-02-28T05:57:36.528" v="711"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1E3A7C41-47CF-4BFD-8C66-533AAAACACA8}" dt="2023-02-28T05:57:36.544" v="712"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1E3A7C41-47CF-4BFD-8C66-533AAAACACA8}" dt="2023-02-28T05:57:36.544" v="713"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1E3A7C41-47CF-4BFD-8C66-533AAAACACA8}" dt="2023-02-28T05:57:36.548" v="714"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1E3A7C41-47CF-4BFD-8C66-533AAAACACA8}" dt="2023-02-28T05:57:36.548" v="715"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1E3A7C41-47CF-4BFD-8C66-533AAAACACA8}" dt="2023-02-28T05:57:36.548" v="716"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1E3A7C41-47CF-4BFD-8C66-533AAAACACA8}" dt="2023-02-28T05:57:36.548" v="717" actId="790"/>
            <ac:spMkLst>
              <pc:docMk/>
              <pc:sldMasterMk cId="408341288" sldId="2147483648"/>
              <pc:sldLayoutMk cId="1427491588" sldId="2147483688"/>
              <ac:spMk id="18" creationId="{1807E5E9-1B45-4641-B765-AAEC167C62E6}"/>
            </ac:spMkLst>
          </pc:spChg>
          <pc:graphicFrameChg chg="mod ord modVis replST">
            <ac:chgData name="Tobias Brammer" userId="80a1e1bd-3b82-47a5-b259-da62a397db92" providerId="ADAL" clId="{1E3A7C41-47CF-4BFD-8C66-533AAAACACA8}" dt="2023-02-28T05:57:37.649" v="1786" actId="1076"/>
            <ac:graphicFrameMkLst>
              <pc:docMk/>
              <pc:sldMasterMk cId="408341288" sldId="2147483648"/>
              <pc:sldLayoutMk cId="1427491588" sldId="2147483688"/>
              <ac:graphicFrameMk id="4" creationId="{DF67402E-0A98-654F-37FA-246E12DB1E2B}"/>
            </ac:graphicFrameMkLst>
          </pc:graphicFrameChg>
        </pc:sldLayoutChg>
        <pc:sldLayoutChg chg="delSp modSp mod">
          <pc:chgData name="Tobias Brammer" userId="80a1e1bd-3b82-47a5-b259-da62a397db92" providerId="ADAL" clId="{1E3A7C41-47CF-4BFD-8C66-533AAAACACA8}" dt="2023-02-28T05:57:37.549" v="1733" actId="1076"/>
          <pc:sldLayoutMkLst>
            <pc:docMk/>
            <pc:sldMasterMk cId="408341288" sldId="2147483648"/>
            <pc:sldLayoutMk cId="1501344722" sldId="2147483691"/>
          </pc:sldLayoutMkLst>
          <pc:spChg chg="mod">
            <ac:chgData name="Tobias Brammer" userId="80a1e1bd-3b82-47a5-b259-da62a397db92" providerId="ADAL" clId="{1E3A7C41-47CF-4BFD-8C66-533AAAACACA8}" dt="2023-02-28T05:57:37.064" v="1080" actId="948"/>
            <ac:spMkLst>
              <pc:docMk/>
              <pc:sldMasterMk cId="408341288" sldId="2147483648"/>
              <pc:sldLayoutMk cId="1501344722" sldId="2147483691"/>
              <ac:spMk id="2" creationId="{92C1918C-9363-4876-BE81-A1CD339A2D47}"/>
            </ac:spMkLst>
          </pc:spChg>
          <pc:spChg chg="del mod modVis">
            <ac:chgData name="Tobias Brammer" userId="80a1e1bd-3b82-47a5-b259-da62a397db92" providerId="ADAL" clId="{1E3A7C41-47CF-4BFD-8C66-533AAAACACA8}" dt="2023-02-28T05:57:37.534" v="1725" actId="478"/>
            <ac:spMkLst>
              <pc:docMk/>
              <pc:sldMasterMk cId="408341288" sldId="2147483648"/>
              <pc:sldLayoutMk cId="1501344722" sldId="2147483691"/>
              <ac:spMk id="3" creationId="{5187D2E6-041B-B001-4EE0-84267CBEC752}"/>
            </ac:spMkLst>
          </pc:spChg>
          <pc:spChg chg="mod">
            <ac:chgData name="Tobias Brammer" userId="80a1e1bd-3b82-47a5-b259-da62a397db92" providerId="ADAL" clId="{1E3A7C41-47CF-4BFD-8C66-533AAAACACA8}" dt="2023-02-28T05:57:36.364" v="640"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1E3A7C41-47CF-4BFD-8C66-533AAAACACA8}" dt="2023-02-28T05:57:36.379" v="641"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1E3A7C41-47CF-4BFD-8C66-533AAAACACA8}" dt="2023-02-28T05:57:36.379" v="642"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1E3A7C41-47CF-4BFD-8C66-533AAAACACA8}" dt="2023-02-28T05:57:36.379" v="643"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1E3A7C41-47CF-4BFD-8C66-533AAAACACA8}" dt="2023-02-28T05:57:36.379" v="644" actId="790"/>
            <ac:spMkLst>
              <pc:docMk/>
              <pc:sldMasterMk cId="408341288" sldId="2147483648"/>
              <pc:sldLayoutMk cId="1501344722" sldId="2147483691"/>
              <ac:spMk id="20" creationId="{526EFD36-E395-47FA-A4C9-907A4C94848A}"/>
            </ac:spMkLst>
          </pc:spChg>
          <pc:graphicFrameChg chg="mod ord modVis replST">
            <ac:chgData name="Tobias Brammer" userId="80a1e1bd-3b82-47a5-b259-da62a397db92" providerId="ADAL" clId="{1E3A7C41-47CF-4BFD-8C66-533AAAACACA8}" dt="2023-02-28T05:57:37.549" v="1733" actId="1076"/>
            <ac:graphicFrameMkLst>
              <pc:docMk/>
              <pc:sldMasterMk cId="408341288" sldId="2147483648"/>
              <pc:sldLayoutMk cId="1501344722" sldId="2147483691"/>
              <ac:graphicFrameMk id="4" creationId="{639A8324-4EAB-D001-BF91-8F238CF8521C}"/>
            </ac:graphicFrameMkLst>
          </pc:graphicFrameChg>
        </pc:sldLayoutChg>
        <pc:sldLayoutChg chg="delSp modSp mod">
          <pc:chgData name="Tobias Brammer" userId="80a1e1bd-3b82-47a5-b259-da62a397db92" providerId="ADAL" clId="{1E3A7C41-47CF-4BFD-8C66-533AAAACACA8}" dt="2023-02-28T05:57:37.471" v="1677" actId="1076"/>
          <pc:sldLayoutMkLst>
            <pc:docMk/>
            <pc:sldMasterMk cId="408341288" sldId="2147483648"/>
            <pc:sldLayoutMk cId="2650753366" sldId="2147483692"/>
          </pc:sldLayoutMkLst>
          <pc:spChg chg="mod">
            <ac:chgData name="Tobias Brammer" userId="80a1e1bd-3b82-47a5-b259-da62a397db92" providerId="ADAL" clId="{1E3A7C41-47CF-4BFD-8C66-533AAAACACA8}" dt="2023-02-28T05:57:36.895" v="828" actId="948"/>
            <ac:spMkLst>
              <pc:docMk/>
              <pc:sldMasterMk cId="408341288" sldId="2147483648"/>
              <pc:sldLayoutMk cId="2650753366" sldId="2147483692"/>
              <ac:spMk id="2" creationId="{EDABB80B-B68E-403D-8533-538037F78BC9}"/>
            </ac:spMkLst>
          </pc:spChg>
          <pc:spChg chg="del mod modVis">
            <ac:chgData name="Tobias Brammer" userId="80a1e1bd-3b82-47a5-b259-da62a397db92" providerId="ADAL" clId="{1E3A7C41-47CF-4BFD-8C66-533AAAACACA8}" dt="2023-02-28T05:57:37.455" v="1669" actId="478"/>
            <ac:spMkLst>
              <pc:docMk/>
              <pc:sldMasterMk cId="408341288" sldId="2147483648"/>
              <pc:sldLayoutMk cId="2650753366" sldId="2147483692"/>
              <ac:spMk id="3" creationId="{9E2BBBE8-6E65-E302-4EF1-2022711637C1}"/>
            </ac:spMkLst>
          </pc:spChg>
          <pc:spChg chg="mod">
            <ac:chgData name="Tobias Brammer" userId="80a1e1bd-3b82-47a5-b259-da62a397db92" providerId="ADAL" clId="{1E3A7C41-47CF-4BFD-8C66-533AAAACACA8}" dt="2023-02-28T05:57:36.411" v="657"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1E3A7C41-47CF-4BFD-8C66-533AAAACACA8}" dt="2023-02-28T05:57:36.411" v="658" actId="790"/>
            <ac:spMkLst>
              <pc:docMk/>
              <pc:sldMasterMk cId="408341288" sldId="2147483648"/>
              <pc:sldLayoutMk cId="2650753366" sldId="2147483692"/>
              <ac:spMk id="9" creationId="{AE3E6A7E-4961-403F-A8EA-EB08707ECA2C}"/>
            </ac:spMkLst>
          </pc:spChg>
          <pc:graphicFrameChg chg="mod ord modVis replST">
            <ac:chgData name="Tobias Brammer" userId="80a1e1bd-3b82-47a5-b259-da62a397db92" providerId="ADAL" clId="{1E3A7C41-47CF-4BFD-8C66-533AAAACACA8}" dt="2023-02-28T05:57:37.471" v="1677" actId="1076"/>
            <ac:graphicFrameMkLst>
              <pc:docMk/>
              <pc:sldMasterMk cId="408341288" sldId="2147483648"/>
              <pc:sldLayoutMk cId="2650753366" sldId="2147483692"/>
              <ac:graphicFrameMk id="4" creationId="{C44E94A3-94F7-4876-BD09-C61C8FBD6718}"/>
            </ac:graphicFrameMkLst>
          </pc:graphicFrame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8722" y="183849"/>
            <a:ext cx="2922003" cy="204334"/>
          </a:xfrm>
          <a:prstGeom prst="rect">
            <a:avLst/>
          </a:prstGeom>
        </p:spPr>
        <p:txBody>
          <a:bodyPr vert="horz" lIns="0" tIns="0" rIns="0" bIns="0" rtlCol="0">
            <a:noAutofit/>
          </a:bodyPr>
          <a:lstStyle>
            <a:lvl1pPr algn="l">
              <a:defRPr sz="1300"/>
            </a:lvl1pPr>
          </a:lstStyle>
          <a:p>
            <a:endParaRPr lang="da-DK" sz="800" dirty="0">
              <a:solidFill>
                <a:schemeClr val="accent1"/>
              </a:solidFill>
            </a:endParaRPr>
          </a:p>
        </p:txBody>
      </p:sp>
      <p:sp>
        <p:nvSpPr>
          <p:cNvPr id="3" name="Date Placeholder 2"/>
          <p:cNvSpPr>
            <a:spLocks noGrp="1"/>
          </p:cNvSpPr>
          <p:nvPr>
            <p:ph type="dt" sz="quarter" idx="1"/>
          </p:nvPr>
        </p:nvSpPr>
        <p:spPr>
          <a:xfrm>
            <a:off x="3692837" y="183849"/>
            <a:ext cx="2922506" cy="204334"/>
          </a:xfrm>
          <a:prstGeom prst="rect">
            <a:avLst/>
          </a:prstGeom>
        </p:spPr>
        <p:txBody>
          <a:bodyPr vert="horz" lIns="0" tIns="0" rIns="0" bIns="0" rtlCol="0">
            <a:noAutofit/>
          </a:bodyPr>
          <a:lstStyle>
            <a:lvl1pPr algn="r">
              <a:defRPr sz="1300"/>
            </a:lvl1pPr>
          </a:lstStyle>
          <a:p>
            <a:fld id="{03516883-48DD-4C9C-AED9-ACC4B9675FF5}" type="datetimeFigureOut">
              <a:rPr lang="da-DK" sz="800">
                <a:solidFill>
                  <a:schemeClr val="accent1"/>
                </a:solidFill>
              </a:rPr>
              <a:t>20-11-2023</a:t>
            </a:fld>
            <a:endParaRPr lang="da-DK" sz="800" dirty="0">
              <a:solidFill>
                <a:schemeClr val="accent1"/>
              </a:solidFill>
            </a:endParaRPr>
          </a:p>
        </p:txBody>
      </p:sp>
      <p:sp>
        <p:nvSpPr>
          <p:cNvPr id="4" name="Footer Placeholder 3"/>
          <p:cNvSpPr>
            <a:spLocks noGrp="1"/>
          </p:cNvSpPr>
          <p:nvPr>
            <p:ph type="ftr" sz="quarter" idx="2"/>
          </p:nvPr>
        </p:nvSpPr>
        <p:spPr>
          <a:xfrm>
            <a:off x="488721" y="9836188"/>
            <a:ext cx="2922002" cy="204334"/>
          </a:xfrm>
          <a:prstGeom prst="rect">
            <a:avLst/>
          </a:prstGeom>
        </p:spPr>
        <p:txBody>
          <a:bodyPr vert="horz" lIns="0" tIns="0" rIns="0" bIns="0" rtlCol="0" anchor="b">
            <a:noAutofit/>
          </a:bodyPr>
          <a:lstStyle>
            <a:lvl1pPr algn="l">
              <a:defRPr sz="1300"/>
            </a:lvl1pPr>
          </a:lstStyle>
          <a:p>
            <a:endParaRPr lang="da-DK" sz="800" dirty="0">
              <a:solidFill>
                <a:schemeClr val="accent1"/>
              </a:solidFill>
            </a:endParaRPr>
          </a:p>
        </p:txBody>
      </p:sp>
      <p:sp>
        <p:nvSpPr>
          <p:cNvPr id="5" name="Slide Number Placeholder 4"/>
          <p:cNvSpPr>
            <a:spLocks noGrp="1"/>
          </p:cNvSpPr>
          <p:nvPr>
            <p:ph type="sldNum" sz="quarter" idx="3"/>
          </p:nvPr>
        </p:nvSpPr>
        <p:spPr>
          <a:xfrm>
            <a:off x="3693340" y="9836188"/>
            <a:ext cx="2922003" cy="204334"/>
          </a:xfrm>
          <a:prstGeom prst="rect">
            <a:avLst/>
          </a:prstGeom>
        </p:spPr>
        <p:txBody>
          <a:bodyPr vert="horz" lIns="0" tIns="0" rIns="0" bIns="0" rtlCol="0" anchor="b">
            <a:noAutofit/>
          </a:bodyPr>
          <a:lstStyle>
            <a:lvl1pPr algn="r">
              <a:defRPr sz="1300"/>
            </a:lvl1pPr>
          </a:lstStyle>
          <a:p>
            <a:fld id="{52A91FE0-BF21-4C80-A3FB-773B8C54F958}" type="slidenum">
              <a:rPr lang="da-DK" sz="1200">
                <a:solidFill>
                  <a:schemeClr val="accent1"/>
                </a:solidFill>
              </a:rPr>
              <a:t>‹nr.›</a:t>
            </a:fld>
            <a:endParaRPr lang="da-DK" sz="1200">
              <a:solidFill>
                <a:schemeClr val="accent1"/>
              </a:solidFill>
            </a:endParaRPr>
          </a:p>
        </p:txBody>
      </p:sp>
    </p:spTree>
    <p:extLst>
      <p:ext uri="{BB962C8B-B14F-4D97-AF65-F5344CB8AC3E}">
        <p14:creationId xmlns:p14="http://schemas.microsoft.com/office/powerpoint/2010/main" val="14693920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53521" y="167633"/>
            <a:ext cx="2922003" cy="204334"/>
          </a:xfrm>
          <a:prstGeom prst="rect">
            <a:avLst/>
          </a:prstGeom>
        </p:spPr>
        <p:txBody>
          <a:bodyPr vert="horz" lIns="0" tIns="0" rIns="0" bIns="0" rtlCol="0">
            <a:noAutofit/>
          </a:bodyPr>
          <a:lstStyle>
            <a:lvl1pPr algn="l" rtl="0">
              <a:defRPr sz="800">
                <a:solidFill>
                  <a:schemeClr val="accent1"/>
                </a:solidFill>
              </a:defRPr>
            </a:lvl1pPr>
          </a:lstStyle>
          <a:p>
            <a:endParaRPr lang="da-DK" dirty="0"/>
          </a:p>
        </p:txBody>
      </p:sp>
      <p:sp>
        <p:nvSpPr>
          <p:cNvPr id="3" name="Date Placeholder 2"/>
          <p:cNvSpPr>
            <a:spLocks noGrp="1"/>
          </p:cNvSpPr>
          <p:nvPr>
            <p:ph type="dt" idx="1"/>
          </p:nvPr>
        </p:nvSpPr>
        <p:spPr>
          <a:xfrm>
            <a:off x="3728539" y="167633"/>
            <a:ext cx="2922003" cy="204334"/>
          </a:xfrm>
          <a:prstGeom prst="rect">
            <a:avLst/>
          </a:prstGeom>
        </p:spPr>
        <p:txBody>
          <a:bodyPr vert="horz" lIns="0" tIns="0" rIns="0" bIns="0" rtlCol="0">
            <a:noAutofit/>
          </a:bodyPr>
          <a:lstStyle>
            <a:lvl1pPr algn="r" rtl="0">
              <a:defRPr sz="800">
                <a:solidFill>
                  <a:schemeClr val="accent1"/>
                </a:solidFill>
              </a:defRPr>
            </a:lvl1pPr>
          </a:lstStyle>
          <a:p>
            <a:fld id="{E0DF3390-761A-4FDC-BA3A-9CF676B82A14}" type="datetimeFigureOut">
              <a:rPr lang="da-DK" smtClean="0"/>
              <a:pPr/>
              <a:t>20-11-2023</a:t>
            </a:fld>
            <a:endParaRPr lang="da-DK" dirty="0"/>
          </a:p>
        </p:txBody>
      </p:sp>
      <p:sp>
        <p:nvSpPr>
          <p:cNvPr id="4" name="Slide Image Placeholder 3"/>
          <p:cNvSpPr>
            <a:spLocks noGrp="1" noRot="1" noChangeAspect="1"/>
          </p:cNvSpPr>
          <p:nvPr>
            <p:ph type="sldImg" idx="2"/>
          </p:nvPr>
        </p:nvSpPr>
        <p:spPr>
          <a:xfrm>
            <a:off x="482600" y="1279525"/>
            <a:ext cx="6138863" cy="3452813"/>
          </a:xfrm>
          <a:prstGeom prst="rect">
            <a:avLst/>
          </a:prstGeom>
          <a:noFill/>
          <a:ln w="12700">
            <a:solidFill>
              <a:prstClr val="black"/>
            </a:solidFill>
          </a:ln>
        </p:spPr>
        <p:txBody>
          <a:bodyPr vert="horz" lIns="99070" tIns="49535" rIns="99070" bIns="49535" rtlCol="0" anchor="ctr"/>
          <a:lstStyle/>
          <a:p>
            <a:endParaRPr lang="da-DK"/>
          </a:p>
        </p:txBody>
      </p:sp>
      <p:sp>
        <p:nvSpPr>
          <p:cNvPr id="5" name="Notes Placeholder 4"/>
          <p:cNvSpPr>
            <a:spLocks noGrp="1"/>
          </p:cNvSpPr>
          <p:nvPr>
            <p:ph type="body" sz="quarter" idx="3"/>
          </p:nvPr>
        </p:nvSpPr>
        <p:spPr>
          <a:xfrm>
            <a:off x="453522" y="4925408"/>
            <a:ext cx="6197021" cy="4029879"/>
          </a:xfrm>
          <a:prstGeom prst="rect">
            <a:avLst/>
          </a:prstGeom>
        </p:spPr>
        <p:txBody>
          <a:bodyPr vert="horz" lIns="0" tIns="0" rIns="0" bIns="0" rtlCol="0"/>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6" name="Footer Placeholder 5"/>
          <p:cNvSpPr>
            <a:spLocks noGrp="1"/>
          </p:cNvSpPr>
          <p:nvPr>
            <p:ph type="ftr" sz="quarter" idx="4"/>
          </p:nvPr>
        </p:nvSpPr>
        <p:spPr>
          <a:xfrm>
            <a:off x="453521" y="9846431"/>
            <a:ext cx="2922003" cy="204334"/>
          </a:xfrm>
          <a:prstGeom prst="rect">
            <a:avLst/>
          </a:prstGeom>
        </p:spPr>
        <p:txBody>
          <a:bodyPr vert="horz" lIns="0" tIns="0" rIns="0" bIns="0" rtlCol="0" anchor="b">
            <a:noAutofit/>
          </a:bodyPr>
          <a:lstStyle>
            <a:lvl1pPr algn="l" rtl="0">
              <a:defRPr sz="800">
                <a:solidFill>
                  <a:schemeClr val="accent1"/>
                </a:solidFill>
              </a:defRPr>
            </a:lvl1pPr>
          </a:lstStyle>
          <a:p>
            <a:endParaRPr lang="da-DK" dirty="0"/>
          </a:p>
        </p:txBody>
      </p:sp>
      <p:sp>
        <p:nvSpPr>
          <p:cNvPr id="7" name="Slide Number Placeholder 6"/>
          <p:cNvSpPr>
            <a:spLocks noGrp="1"/>
          </p:cNvSpPr>
          <p:nvPr>
            <p:ph type="sldNum" sz="quarter" idx="5"/>
          </p:nvPr>
        </p:nvSpPr>
        <p:spPr>
          <a:xfrm>
            <a:off x="3728539" y="9846431"/>
            <a:ext cx="2922003" cy="204334"/>
          </a:xfrm>
          <a:prstGeom prst="rect">
            <a:avLst/>
          </a:prstGeom>
        </p:spPr>
        <p:txBody>
          <a:bodyPr vert="horz" lIns="0" tIns="0" rIns="0" bIns="0" rtlCol="0" anchor="b">
            <a:noAutofit/>
          </a:bodyPr>
          <a:lstStyle>
            <a:lvl1pPr algn="r" rtl="0">
              <a:defRPr sz="1200">
                <a:solidFill>
                  <a:schemeClr val="accent1"/>
                </a:solidFill>
              </a:defRPr>
            </a:lvl1pPr>
          </a:lstStyle>
          <a:p>
            <a:fld id="{CA4D1251-08EB-4C47-AB06-FBA54C2E1AEF}" type="slidenum">
              <a:rPr lang="da-DK" smtClean="0"/>
              <a:pPr/>
              <a:t>‹nr.›</a:t>
            </a:fld>
            <a:endParaRPr lang="da-DK" dirty="0"/>
          </a:p>
        </p:txBody>
      </p:sp>
    </p:spTree>
    <p:extLst>
      <p:ext uri="{BB962C8B-B14F-4D97-AF65-F5344CB8AC3E}">
        <p14:creationId xmlns:p14="http://schemas.microsoft.com/office/powerpoint/2010/main" val="2355898256"/>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1pPr>
    <a:lvl2pPr marL="904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2pPr>
    <a:lvl3pPr marL="180975"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2667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4pPr>
    <a:lvl5pPr marL="3571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noProof="0"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a:t>
            </a:fld>
            <a:endParaRPr lang="da-DK" dirty="0"/>
          </a:p>
        </p:txBody>
      </p:sp>
    </p:spTree>
    <p:extLst>
      <p:ext uri="{BB962C8B-B14F-4D97-AF65-F5344CB8AC3E}">
        <p14:creationId xmlns:p14="http://schemas.microsoft.com/office/powerpoint/2010/main" val="3954369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PCA kan være særligt nyttigt til at danne et samlet risikomål for byggeprojekter eller andre komplekse initiativer. I byggeprojekter kan der være mange risikofaktorer at overveje, såsom omkostningsoverskridelser, forsinkelser, tekniske fejl, og så videre. Hver af disse faktorer kan betragtes som en dimension i et højdimensionalt rum.</a:t>
            </a:r>
          </a:p>
          <a:p>
            <a:pPr algn="l"/>
            <a:endParaRPr lang="da-DK" b="0" i="0" dirty="0">
              <a:solidFill>
                <a:srgbClr val="D1D5DB"/>
              </a:solidFill>
              <a:effectLst/>
              <a:latin typeface="Söhne"/>
            </a:endParaRPr>
          </a:p>
          <a:p>
            <a:pPr algn="l"/>
            <a:r>
              <a:rPr lang="da-DK" b="0" i="0" dirty="0">
                <a:solidFill>
                  <a:srgbClr val="D1D5DB"/>
                </a:solidFill>
                <a:effectLst/>
                <a:latin typeface="Söhne"/>
              </a:rPr>
              <a:t>Ved at anvende PCA kan man reducere dette højdimensionale rum til færre dimensioner, der fanger den mest kritiske varians i dataene. Dette kan give et mere håndterbart antal "hovedrisikofaktorer", der bedst repræsenterer det samlede risikoniveau for et projekt.</a:t>
            </a:r>
          </a:p>
          <a:p>
            <a:pPr algn="l"/>
            <a:endParaRPr lang="da-DK" b="0" i="0" dirty="0">
              <a:solidFill>
                <a:srgbClr val="D1D5DB"/>
              </a:solidFill>
              <a:effectLst/>
              <a:latin typeface="Söhne"/>
            </a:endParaRPr>
          </a:p>
          <a:p>
            <a:pPr algn="l"/>
            <a:r>
              <a:rPr lang="da-DK" b="0" i="0" dirty="0">
                <a:solidFill>
                  <a:srgbClr val="D1D5DB"/>
                </a:solidFill>
                <a:effectLst/>
                <a:latin typeface="Söhne"/>
              </a:rPr>
              <a:t>Dermed kan PCA hjælpe beslutningstagere med at fokusere på de mest kritiske risikoelementer og deres kombinerede effekt, hvilket gør det muligt at kvantificere og sammenligne det samlede risikoniveau på tværs af forskellige projekter. </a:t>
            </a:r>
          </a:p>
          <a:p>
            <a:pPr algn="l"/>
            <a:endParaRPr lang="da-DK" b="0" i="0" dirty="0">
              <a:solidFill>
                <a:srgbClr val="D1D5DB"/>
              </a:solidFill>
              <a:effectLst/>
              <a:latin typeface="Söhne"/>
            </a:endParaRPr>
          </a:p>
          <a:p>
            <a:pPr algn="l"/>
            <a:r>
              <a:rPr lang="da-DK" b="0" i="0" dirty="0">
                <a:solidFill>
                  <a:srgbClr val="D1D5DB"/>
                </a:solidFill>
                <a:effectLst/>
                <a:latin typeface="Söhne"/>
              </a:rPr>
              <a:t>Dette samlede risikomål kan så bruges til at prioritere ressourcer, træffe informerede beslutninger og implementere risikostyringsstrategier mere effektivt.</a:t>
            </a:r>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0</a:t>
            </a:fld>
            <a:endParaRPr lang="da-DK" dirty="0"/>
          </a:p>
        </p:txBody>
      </p:sp>
    </p:spTree>
    <p:extLst>
      <p:ext uri="{BB962C8B-B14F-4D97-AF65-F5344CB8AC3E}">
        <p14:creationId xmlns:p14="http://schemas.microsoft.com/office/powerpoint/2010/main" val="3443843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1</a:t>
            </a:fld>
            <a:endParaRPr lang="da-DK" dirty="0"/>
          </a:p>
        </p:txBody>
      </p:sp>
    </p:spTree>
    <p:extLst>
      <p:ext uri="{BB962C8B-B14F-4D97-AF65-F5344CB8AC3E}">
        <p14:creationId xmlns:p14="http://schemas.microsoft.com/office/powerpoint/2010/main" val="197829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2</a:t>
            </a:fld>
            <a:endParaRPr lang="da-DK" dirty="0"/>
          </a:p>
        </p:txBody>
      </p:sp>
    </p:spTree>
    <p:extLst>
      <p:ext uri="{BB962C8B-B14F-4D97-AF65-F5344CB8AC3E}">
        <p14:creationId xmlns:p14="http://schemas.microsoft.com/office/powerpoint/2010/main" val="2114917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3</a:t>
            </a:fld>
            <a:endParaRPr lang="da-DK" dirty="0"/>
          </a:p>
        </p:txBody>
      </p:sp>
    </p:spTree>
    <p:extLst>
      <p:ext uri="{BB962C8B-B14F-4D97-AF65-F5344CB8AC3E}">
        <p14:creationId xmlns:p14="http://schemas.microsoft.com/office/powerpoint/2010/main" val="1956531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4</a:t>
            </a:fld>
            <a:endParaRPr lang="da-DK" dirty="0"/>
          </a:p>
        </p:txBody>
      </p:sp>
    </p:spTree>
    <p:extLst>
      <p:ext uri="{BB962C8B-B14F-4D97-AF65-F5344CB8AC3E}">
        <p14:creationId xmlns:p14="http://schemas.microsoft.com/office/powerpoint/2010/main" val="1652278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5</a:t>
            </a:fld>
            <a:endParaRPr lang="da-DK" dirty="0"/>
          </a:p>
        </p:txBody>
      </p:sp>
    </p:spTree>
    <p:extLst>
      <p:ext uri="{BB962C8B-B14F-4D97-AF65-F5344CB8AC3E}">
        <p14:creationId xmlns:p14="http://schemas.microsoft.com/office/powerpoint/2010/main" val="1686916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6</a:t>
            </a:fld>
            <a:endParaRPr lang="da-DK" dirty="0"/>
          </a:p>
        </p:txBody>
      </p:sp>
    </p:spTree>
    <p:extLst>
      <p:ext uri="{BB962C8B-B14F-4D97-AF65-F5344CB8AC3E}">
        <p14:creationId xmlns:p14="http://schemas.microsoft.com/office/powerpoint/2010/main" val="2323131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7</a:t>
            </a:fld>
            <a:endParaRPr lang="da-DK" dirty="0"/>
          </a:p>
        </p:txBody>
      </p:sp>
    </p:spTree>
    <p:extLst>
      <p:ext uri="{BB962C8B-B14F-4D97-AF65-F5344CB8AC3E}">
        <p14:creationId xmlns:p14="http://schemas.microsoft.com/office/powerpoint/2010/main" val="3910670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8</a:t>
            </a:fld>
            <a:endParaRPr lang="da-DK" dirty="0"/>
          </a:p>
        </p:txBody>
      </p:sp>
    </p:spTree>
    <p:extLst>
      <p:ext uri="{BB962C8B-B14F-4D97-AF65-F5344CB8AC3E}">
        <p14:creationId xmlns:p14="http://schemas.microsoft.com/office/powerpoint/2010/main" val="2050524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9</a:t>
            </a:fld>
            <a:endParaRPr lang="da-DK" dirty="0"/>
          </a:p>
        </p:txBody>
      </p:sp>
    </p:spTree>
    <p:extLst>
      <p:ext uri="{BB962C8B-B14F-4D97-AF65-F5344CB8AC3E}">
        <p14:creationId xmlns:p14="http://schemas.microsoft.com/office/powerpoint/2010/main" val="601123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a:t>
            </a:fld>
            <a:endParaRPr lang="da-DK" dirty="0"/>
          </a:p>
        </p:txBody>
      </p:sp>
    </p:spTree>
    <p:extLst>
      <p:ext uri="{BB962C8B-B14F-4D97-AF65-F5344CB8AC3E}">
        <p14:creationId xmlns:p14="http://schemas.microsoft.com/office/powerpoint/2010/main" val="3049087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0</a:t>
            </a:fld>
            <a:endParaRPr lang="da-DK" dirty="0"/>
          </a:p>
        </p:txBody>
      </p:sp>
    </p:spTree>
    <p:extLst>
      <p:ext uri="{BB962C8B-B14F-4D97-AF65-F5344CB8AC3E}">
        <p14:creationId xmlns:p14="http://schemas.microsoft.com/office/powerpoint/2010/main" val="3624731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1</a:t>
            </a:fld>
            <a:endParaRPr lang="da-DK" dirty="0"/>
          </a:p>
        </p:txBody>
      </p:sp>
    </p:spTree>
    <p:extLst>
      <p:ext uri="{BB962C8B-B14F-4D97-AF65-F5344CB8AC3E}">
        <p14:creationId xmlns:p14="http://schemas.microsoft.com/office/powerpoint/2010/main" val="137822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2</a:t>
            </a:fld>
            <a:endParaRPr lang="da-DK" dirty="0"/>
          </a:p>
        </p:txBody>
      </p:sp>
    </p:spTree>
    <p:extLst>
      <p:ext uri="{BB962C8B-B14F-4D97-AF65-F5344CB8AC3E}">
        <p14:creationId xmlns:p14="http://schemas.microsoft.com/office/powerpoint/2010/main" val="20913000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3</a:t>
            </a:fld>
            <a:endParaRPr lang="da-DK" dirty="0"/>
          </a:p>
        </p:txBody>
      </p:sp>
    </p:spTree>
    <p:extLst>
      <p:ext uri="{BB962C8B-B14F-4D97-AF65-F5344CB8AC3E}">
        <p14:creationId xmlns:p14="http://schemas.microsoft.com/office/powerpoint/2010/main" val="604811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4</a:t>
            </a:fld>
            <a:endParaRPr lang="da-DK" dirty="0"/>
          </a:p>
        </p:txBody>
      </p:sp>
    </p:spTree>
    <p:extLst>
      <p:ext uri="{BB962C8B-B14F-4D97-AF65-F5344CB8AC3E}">
        <p14:creationId xmlns:p14="http://schemas.microsoft.com/office/powerpoint/2010/main" val="11948798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5</a:t>
            </a:fld>
            <a:endParaRPr lang="da-DK" dirty="0"/>
          </a:p>
        </p:txBody>
      </p:sp>
    </p:spTree>
    <p:extLst>
      <p:ext uri="{BB962C8B-B14F-4D97-AF65-F5344CB8AC3E}">
        <p14:creationId xmlns:p14="http://schemas.microsoft.com/office/powerpoint/2010/main" val="2191635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a:t>
            </a:fld>
            <a:endParaRPr lang="da-DK" dirty="0"/>
          </a:p>
        </p:txBody>
      </p:sp>
    </p:spTree>
    <p:extLst>
      <p:ext uri="{BB962C8B-B14F-4D97-AF65-F5344CB8AC3E}">
        <p14:creationId xmlns:p14="http://schemas.microsoft.com/office/powerpoint/2010/main" val="2323858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a:t>
            </a:fld>
            <a:endParaRPr lang="da-DK" dirty="0"/>
          </a:p>
        </p:txBody>
      </p:sp>
    </p:spTree>
    <p:extLst>
      <p:ext uri="{BB962C8B-B14F-4D97-AF65-F5344CB8AC3E}">
        <p14:creationId xmlns:p14="http://schemas.microsoft.com/office/powerpoint/2010/main" val="1107226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5</a:t>
            </a:fld>
            <a:endParaRPr lang="da-DK" dirty="0"/>
          </a:p>
        </p:txBody>
      </p:sp>
    </p:spTree>
    <p:extLst>
      <p:ext uri="{BB962C8B-B14F-4D97-AF65-F5344CB8AC3E}">
        <p14:creationId xmlns:p14="http://schemas.microsoft.com/office/powerpoint/2010/main" val="2880312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6</a:t>
            </a:fld>
            <a:endParaRPr lang="da-DK" dirty="0"/>
          </a:p>
        </p:txBody>
      </p:sp>
    </p:spTree>
    <p:extLst>
      <p:ext uri="{BB962C8B-B14F-4D97-AF65-F5344CB8AC3E}">
        <p14:creationId xmlns:p14="http://schemas.microsoft.com/office/powerpoint/2010/main" val="208102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I det kontekst af paneldataforudsigelse fungerer </a:t>
            </a:r>
            <a:r>
              <a:rPr lang="da-DK" b="0" i="0" dirty="0" err="1">
                <a:solidFill>
                  <a:srgbClr val="D1D5DB"/>
                </a:solidFill>
                <a:effectLst/>
                <a:latin typeface="Söhne"/>
              </a:rPr>
              <a:t>Random</a:t>
            </a:r>
            <a:r>
              <a:rPr lang="da-DK" b="0" i="0" dirty="0">
                <a:solidFill>
                  <a:srgbClr val="D1D5DB"/>
                </a:solidFill>
                <a:effectLst/>
                <a:latin typeface="Söhne"/>
              </a:rPr>
              <a:t> Forest (RF)-algoritmen som et robust og alsidigt værktøj til at generere nøjagtige prognoser. Med udgangspunkt i </a:t>
            </a:r>
            <a:r>
              <a:rPr lang="da-DK" b="0" i="0" dirty="0" err="1">
                <a:solidFill>
                  <a:srgbClr val="D1D5DB"/>
                </a:solidFill>
                <a:effectLst/>
                <a:latin typeface="Söhne"/>
              </a:rPr>
              <a:t>Breimans</a:t>
            </a:r>
            <a:r>
              <a:rPr lang="da-DK" b="0" i="0" dirty="0">
                <a:solidFill>
                  <a:srgbClr val="D1D5DB"/>
                </a:solidFill>
                <a:effectLst/>
                <a:latin typeface="Söhne"/>
              </a:rPr>
              <a:t> arbejde fra 2001 anvender RF-modellen et ensemble af beslutningstræer, hvor hvert træ bidrager med en forudsigelse for klasselabelen. Den endelige forudsigelse bestemmes ved at aggregere de mest hyppige klasselabels på tværs af alle træer. Algoritmens styrke ligger i dens brug af </a:t>
            </a:r>
            <a:r>
              <a:rPr lang="da-DK" b="0" i="0" dirty="0" err="1">
                <a:solidFill>
                  <a:srgbClr val="D1D5DB"/>
                </a:solidFill>
                <a:effectLst/>
                <a:latin typeface="Söhne"/>
              </a:rPr>
              <a:t>bootstrapping</a:t>
            </a:r>
            <a:r>
              <a:rPr lang="da-DK" b="0" i="0" dirty="0">
                <a:solidFill>
                  <a:srgbClr val="D1D5DB"/>
                </a:solidFill>
                <a:effectLst/>
                <a:latin typeface="Söhne"/>
              </a:rPr>
              <a:t>-metoden, hvor datasæt udvælges tilfældigt og uafhængigt under træningsfasen for at konstruere flere træer. Data, der ikke bruges i denne proces, betegnes som "out-of-bag" og er afgørende for at estimere vigtigheden af inputvariabler og måle forudsigelsesfejl. Det er bemærkelsesværdigt, at </a:t>
            </a:r>
            <a:r>
              <a:rPr lang="da-DK" b="0" i="0" dirty="0" err="1">
                <a:solidFill>
                  <a:srgbClr val="D1D5DB"/>
                </a:solidFill>
                <a:effectLst/>
                <a:latin typeface="Söhne"/>
              </a:rPr>
              <a:t>Random</a:t>
            </a:r>
            <a:r>
              <a:rPr lang="da-DK" b="0" i="0" dirty="0">
                <a:solidFill>
                  <a:srgbClr val="D1D5DB"/>
                </a:solidFill>
                <a:effectLst/>
                <a:latin typeface="Söhne"/>
              </a:rPr>
              <a:t> Forest er modstandsdygtig over for overfitting, primært på grund af det store antal træer involveret, og den forbliver invariant under skalering og robust mod irrelevante funktioner. Dette gør den særligt nyttig for paneldata, som ofte involverer tidsserie tværsnitsdata, der kan være komplekse og multidimensionelle. I ingeniørapplikationer, inklusive dem, der involverer paneldata, har algoritmen bevist sin forudsigelsesdygtighed. Desuden kan dens parametre - såsom antallet af træer, minimumsgevinst og maksimal trædybde - finjusteres for optimal ydeevne, som det blev gjort i den refererede undersøgelse gennem brugen af en genetisk algoritme.</a:t>
            </a:r>
          </a:p>
          <a:p>
            <a:pPr algn="l"/>
            <a:endParaRPr lang="da-DK" b="0" i="0" dirty="0">
              <a:solidFill>
                <a:srgbClr val="D1D5DB"/>
              </a:solidFill>
              <a:effectLst/>
              <a:latin typeface="Söhne"/>
            </a:endParaRP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en teknik, der ofte anvendes i maskinlæringsalgoritmer (særligt SVR) for at håndtere ikke-lineært </a:t>
            </a:r>
            <a:r>
              <a:rPr lang="da-DK" b="0" i="0" dirty="0" err="1">
                <a:solidFill>
                  <a:srgbClr val="D1D5DB"/>
                </a:solidFill>
                <a:effectLst/>
                <a:latin typeface="Söhne"/>
              </a:rPr>
              <a:t>separerbare</a:t>
            </a:r>
            <a:r>
              <a:rPr lang="da-DK" b="0" i="0" dirty="0">
                <a:solidFill>
                  <a:srgbClr val="D1D5DB"/>
                </a:solidFill>
                <a:effectLst/>
                <a:latin typeface="Söhne"/>
              </a:rPr>
              <a:t> data. Grundlæggende set er ideen at transformere det oprindelige rum af variabler til et højere dimensionalt rum, hvor dataene kan separeres mere effektivt, ofte lineært.</a:t>
            </a:r>
          </a:p>
          <a:p>
            <a:pPr algn="l"/>
            <a:r>
              <a:rPr lang="da-DK" b="0" i="0" dirty="0">
                <a:solidFill>
                  <a:srgbClr val="D1D5DB"/>
                </a:solidFill>
                <a:effectLst/>
                <a:latin typeface="Söhne"/>
              </a:rPr>
              <a:t>Forestil dig, at du har et datasæt, der ikke kan separeres med en lige linje i et 2D-plan. I dette tilfælde kan du bruge "</a:t>
            </a:r>
            <a:r>
              <a:rPr lang="da-DK" b="0" i="0" dirty="0" err="1">
                <a:solidFill>
                  <a:srgbClr val="D1D5DB"/>
                </a:solidFill>
                <a:effectLst/>
                <a:latin typeface="Söhne"/>
              </a:rPr>
              <a:t>kernel</a:t>
            </a:r>
            <a:r>
              <a:rPr lang="da-DK" b="0" i="0" dirty="0">
                <a:solidFill>
                  <a:srgbClr val="D1D5DB"/>
                </a:solidFill>
                <a:effectLst/>
                <a:latin typeface="Söhne"/>
              </a:rPr>
              <a:t> trick" til at transformere dette 2D-plan til et 3D-rum. I dette nye 3D-rum kan dataene nu være lineært </a:t>
            </a:r>
            <a:r>
              <a:rPr lang="da-DK" b="0" i="0" dirty="0" err="1">
                <a:solidFill>
                  <a:srgbClr val="D1D5DB"/>
                </a:solidFill>
                <a:effectLst/>
                <a:latin typeface="Söhne"/>
              </a:rPr>
              <a:t>separerbare</a:t>
            </a:r>
            <a:r>
              <a:rPr lang="da-DK" b="0" i="0" dirty="0">
                <a:solidFill>
                  <a:srgbClr val="D1D5DB"/>
                </a:solidFill>
                <a:effectLst/>
                <a:latin typeface="Söhne"/>
              </a:rPr>
              <a:t> ved hjælp af en flade i stedet for en linje.</a:t>
            </a:r>
          </a:p>
          <a:p>
            <a:pPr algn="l"/>
            <a:r>
              <a:rPr lang="da-DK" b="0" i="0" dirty="0">
                <a:solidFill>
                  <a:srgbClr val="D1D5DB"/>
                </a:solidFill>
                <a:effectLst/>
                <a:latin typeface="Söhne"/>
              </a:rPr>
              <a:t>Teknisk set opnås dette ved at anvende en </a:t>
            </a:r>
            <a:r>
              <a:rPr lang="da-DK" b="0" i="0" dirty="0" err="1">
                <a:solidFill>
                  <a:srgbClr val="D1D5DB"/>
                </a:solidFill>
                <a:effectLst/>
                <a:latin typeface="Söhne"/>
              </a:rPr>
              <a:t>kernel</a:t>
            </a:r>
            <a:r>
              <a:rPr lang="da-DK" b="0" i="0" dirty="0">
                <a:solidFill>
                  <a:srgbClr val="D1D5DB"/>
                </a:solidFill>
                <a:effectLst/>
                <a:latin typeface="Söhne"/>
              </a:rPr>
              <a:t>-funktion til dataene. Denne funktion beregner produktet mellem vektorer i dette højere dimensionale rum uden faktisk at skulle transformere dataene til det rum.</a:t>
            </a:r>
          </a:p>
          <a:p>
            <a:pPr algn="l"/>
            <a:r>
              <a:rPr lang="da-DK" b="0" i="0" dirty="0">
                <a:solidFill>
                  <a:srgbClr val="D1D5DB"/>
                </a:solidFill>
                <a:effectLst/>
                <a:latin typeface="Söhne"/>
              </a:rPr>
              <a:t>Der findes forskellige typer af </a:t>
            </a:r>
            <a:r>
              <a:rPr lang="da-DK" b="0" i="0" dirty="0" err="1">
                <a:solidFill>
                  <a:srgbClr val="D1D5DB"/>
                </a:solidFill>
                <a:effectLst/>
                <a:latin typeface="Söhne"/>
              </a:rPr>
              <a:t>kernel</a:t>
            </a:r>
            <a:r>
              <a:rPr lang="da-DK" b="0" i="0" dirty="0">
                <a:solidFill>
                  <a:srgbClr val="D1D5DB"/>
                </a:solidFill>
                <a:effectLst/>
                <a:latin typeface="Söhne"/>
              </a:rPr>
              <a:t>-funktioner, såsom lineær, </a:t>
            </a:r>
            <a:r>
              <a:rPr lang="da-DK" b="0" i="0" dirty="0" err="1">
                <a:solidFill>
                  <a:srgbClr val="D1D5DB"/>
                </a:solidFill>
                <a:effectLst/>
                <a:latin typeface="Söhne"/>
              </a:rPr>
              <a:t>polynomisk</a:t>
            </a:r>
            <a:r>
              <a:rPr lang="da-DK" b="0" i="0" dirty="0">
                <a:solidFill>
                  <a:srgbClr val="D1D5DB"/>
                </a:solidFill>
                <a:effectLst/>
                <a:latin typeface="Söhne"/>
              </a:rPr>
              <a:t> og radial basis funktion (RBF), og valget af </a:t>
            </a:r>
            <a:r>
              <a:rPr lang="da-DK" b="0" i="0" dirty="0" err="1">
                <a:solidFill>
                  <a:srgbClr val="D1D5DB"/>
                </a:solidFill>
                <a:effectLst/>
                <a:latin typeface="Söhne"/>
              </a:rPr>
              <a:t>kernel</a:t>
            </a:r>
            <a:r>
              <a:rPr lang="da-DK" b="0" i="0" dirty="0">
                <a:solidFill>
                  <a:srgbClr val="D1D5DB"/>
                </a:solidFill>
                <a:effectLst/>
                <a:latin typeface="Söhne"/>
              </a:rPr>
              <a:t> kan have en stor indflydelse på modellens præstation.</a:t>
            </a: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særligt nyttigt i komplekse problemer, hvor relationerne mellem variablerne ikke er lineære. Det giver algoritmer som SVM mulighed for at bygge mere fleksible og kraftfulde modeller, hvilket kan være afgørende i mange anvendelser, herunder økonomiske forudsigelser og risikovurdering i byggeprojekter.</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7</a:t>
            </a:fld>
            <a:endParaRPr lang="da-DK" dirty="0"/>
          </a:p>
        </p:txBody>
      </p:sp>
    </p:spTree>
    <p:extLst>
      <p:ext uri="{BB962C8B-B14F-4D97-AF65-F5344CB8AC3E}">
        <p14:creationId xmlns:p14="http://schemas.microsoft.com/office/powerpoint/2010/main" val="653770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8</a:t>
            </a:fld>
            <a:endParaRPr lang="da-DK" dirty="0"/>
          </a:p>
        </p:txBody>
      </p:sp>
    </p:spTree>
    <p:extLst>
      <p:ext uri="{BB962C8B-B14F-4D97-AF65-F5344CB8AC3E}">
        <p14:creationId xmlns:p14="http://schemas.microsoft.com/office/powerpoint/2010/main" val="3816908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9</a:t>
            </a:fld>
            <a:endParaRPr lang="da-DK" dirty="0"/>
          </a:p>
        </p:txBody>
      </p:sp>
    </p:spTree>
    <p:extLst>
      <p:ext uri="{BB962C8B-B14F-4D97-AF65-F5344CB8AC3E}">
        <p14:creationId xmlns:p14="http://schemas.microsoft.com/office/powerpoint/2010/main" val="1137858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8.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med halv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8B7415-416B-7FE1-937C-81DC5F7AF7F8}"/>
              </a:ext>
            </a:extLst>
          </p:cNvPr>
          <p:cNvGraphicFramePr>
            <a:graphicFrameLocks noChangeAspect="1"/>
          </p:cNvGraphicFramePr>
          <p:nvPr userDrawn="1">
            <p:custDataLst>
              <p:tags r:id="rId1"/>
            </p:custDataLst>
            <p:extLst>
              <p:ext uri="{D42A27DB-BD31-4B8C-83A1-F6EECF244321}">
                <p14:modId xmlns:p14="http://schemas.microsoft.com/office/powerpoint/2010/main" val="146374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9C8B7415-416B-7FE1-937C-81DC5F7AF7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ladsholder til billede 16">
            <a:extLst>
              <a:ext uri="{FF2B5EF4-FFF2-40B4-BE49-F238E27FC236}">
                <a16:creationId xmlns:a16="http://schemas.microsoft.com/office/drawing/2014/main" id="{939632FF-44ED-498C-B1FE-ACE44FE1E8EF}"/>
              </a:ext>
            </a:extLst>
          </p:cNvPr>
          <p:cNvSpPr>
            <a:spLocks noGrp="1"/>
          </p:cNvSpPr>
          <p:nvPr>
            <p:ph type="pic" sz="quarter" idx="13"/>
          </p:nvPr>
        </p:nvSpPr>
        <p:spPr>
          <a:xfrm>
            <a:off x="5125592" y="0"/>
            <a:ext cx="7066408" cy="6858000"/>
          </a:xfrm>
          <a:custGeom>
            <a:avLst/>
            <a:gdLst>
              <a:gd name="connsiteX0" fmla="*/ 1965503 w 7066408"/>
              <a:gd name="connsiteY0" fmla="*/ 0 h 6858000"/>
              <a:gd name="connsiteX1" fmla="*/ 7066408 w 7066408"/>
              <a:gd name="connsiteY1" fmla="*/ 0 h 6858000"/>
              <a:gd name="connsiteX2" fmla="*/ 7066408 w 7066408"/>
              <a:gd name="connsiteY2" fmla="*/ 6858000 h 6858000"/>
              <a:gd name="connsiteX3" fmla="*/ 0 w 70664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66408" h="6858000">
                <a:moveTo>
                  <a:pt x="1965503" y="0"/>
                </a:moveTo>
                <a:lnTo>
                  <a:pt x="7066408" y="0"/>
                </a:lnTo>
                <a:lnTo>
                  <a:pt x="7066408"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4701857" cy="1661993"/>
          </a:xfrm>
        </p:spPr>
        <p:txBody>
          <a:bodyPr vert="horz">
            <a:noAutofit/>
          </a:bodyPr>
          <a:lstStyle>
            <a:lvl1pPr algn="l" rtl="0">
              <a:defRPr sz="6000"/>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4142929"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TextBox 8">
            <a:extLst>
              <a:ext uri="{FF2B5EF4-FFF2-40B4-BE49-F238E27FC236}">
                <a16:creationId xmlns:a16="http://schemas.microsoft.com/office/drawing/2014/main" id="{297EFA8A-BAF3-4E00-ABAE-12A3938FAD52}"/>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pic>
        <p:nvPicPr>
          <p:cNvPr id="10" name="Graphic 9">
            <a:extLst>
              <a:ext uri="{FF2B5EF4-FFF2-40B4-BE49-F238E27FC236}">
                <a16:creationId xmlns:a16="http://schemas.microsoft.com/office/drawing/2014/main" id="{A3996F55-9A5F-4DA1-AD19-CFBFFDAF51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80" y="5600283"/>
            <a:ext cx="3954771" cy="632877"/>
          </a:xfrm>
          <a:prstGeom prst="rect">
            <a:avLst/>
          </a:prstGeom>
        </p:spPr>
      </p:pic>
    </p:spTree>
    <p:extLst>
      <p:ext uri="{BB962C8B-B14F-4D97-AF65-F5344CB8AC3E}">
        <p14:creationId xmlns:p14="http://schemas.microsoft.com/office/powerpoint/2010/main" val="3653027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og indhold med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3EE7813-74C2-F8E1-D412-BE30BC2B57C4}"/>
              </a:ext>
            </a:extLst>
          </p:cNvPr>
          <p:cNvGraphicFramePr>
            <a:graphicFrameLocks noChangeAspect="1"/>
          </p:cNvGraphicFramePr>
          <p:nvPr userDrawn="1">
            <p:custDataLst>
              <p:tags r:id="rId1"/>
            </p:custDataLst>
            <p:extLst>
              <p:ext uri="{D42A27DB-BD31-4B8C-83A1-F6EECF244321}">
                <p14:modId xmlns:p14="http://schemas.microsoft.com/office/powerpoint/2010/main" val="349636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F3EE7813-74C2-F8E1-D412-BE30BC2B5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C967A86E-1E38-460F-9723-9D24C8DEEF8B}"/>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547289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og indhold med billede + farvet baggrund">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012E119-F5DD-6106-9214-36AB682F7F06}"/>
              </a:ext>
            </a:extLst>
          </p:cNvPr>
          <p:cNvGraphicFramePr>
            <a:graphicFrameLocks noChangeAspect="1"/>
          </p:cNvGraphicFramePr>
          <p:nvPr userDrawn="1">
            <p:custDataLst>
              <p:tags r:id="rId1"/>
            </p:custDataLst>
            <p:extLst>
              <p:ext uri="{D42A27DB-BD31-4B8C-83A1-F6EECF244321}">
                <p14:modId xmlns:p14="http://schemas.microsoft.com/office/powerpoint/2010/main" val="156447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012E119-F5DD-6106-9214-36AB682F7F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18590422-9BE5-4289-94F5-8531586DFCD8}"/>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3646350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og indhold med fuldt bille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B55FE80-6286-289B-DD1E-C57D0B5F519F}"/>
              </a:ext>
            </a:extLst>
          </p:cNvPr>
          <p:cNvGraphicFramePr>
            <a:graphicFrameLocks noChangeAspect="1"/>
          </p:cNvGraphicFramePr>
          <p:nvPr userDrawn="1">
            <p:custDataLst>
              <p:tags r:id="rId1"/>
            </p:custDataLst>
            <p:extLst>
              <p:ext uri="{D42A27DB-BD31-4B8C-83A1-F6EECF244321}">
                <p14:modId xmlns:p14="http://schemas.microsoft.com/office/powerpoint/2010/main" val="17316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kt 2" hidden="1">
                        <a:extLst>
                          <a:ext uri="{FF2B5EF4-FFF2-40B4-BE49-F238E27FC236}">
                            <a16:creationId xmlns:a16="http://schemas.microsoft.com/office/drawing/2014/main" id="{DB55FE80-6286-289B-DD1E-C57D0B5F51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2" name="Pladsholder til tekst 31">
            <a:extLst>
              <a:ext uri="{FF2B5EF4-FFF2-40B4-BE49-F238E27FC236}">
                <a16:creationId xmlns:a16="http://schemas.microsoft.com/office/drawing/2014/main" id="{BA3D0DD0-91F8-4803-BD5E-DEFAF18680C3}"/>
              </a:ext>
            </a:extLst>
          </p:cNvPr>
          <p:cNvSpPr>
            <a:spLocks noGrp="1"/>
          </p:cNvSpPr>
          <p:nvPr>
            <p:ph type="body" sz="quarter" idx="17" hasCustomPrompt="1"/>
          </p:nvPr>
        </p:nvSpPr>
        <p:spPr>
          <a:xfrm>
            <a:off x="0" y="0"/>
            <a:ext cx="7116237" cy="6858000"/>
          </a:xfrm>
          <a:custGeom>
            <a:avLst/>
            <a:gdLst>
              <a:gd name="connsiteX0" fmla="*/ 0 w 7116237"/>
              <a:gd name="connsiteY0" fmla="*/ 0 h 6858000"/>
              <a:gd name="connsiteX1" fmla="*/ 7116237 w 7116237"/>
              <a:gd name="connsiteY1" fmla="*/ 0 h 6858000"/>
              <a:gd name="connsiteX2" fmla="*/ 5150734 w 7116237"/>
              <a:gd name="connsiteY2" fmla="*/ 6858000 h 6858000"/>
              <a:gd name="connsiteX3" fmla="*/ 0 w 7116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16237" h="6858000">
                <a:moveTo>
                  <a:pt x="0" y="0"/>
                </a:moveTo>
                <a:lnTo>
                  <a:pt x="7116237" y="0"/>
                </a:lnTo>
                <a:lnTo>
                  <a:pt x="5150734" y="6858000"/>
                </a:lnTo>
                <a:lnTo>
                  <a:pt x="0" y="6858000"/>
                </a:lnTo>
                <a:close/>
              </a:path>
            </a:pathLst>
          </a:custGeom>
          <a:solidFill>
            <a:schemeClr val="bg1">
              <a:alpha val="85000"/>
            </a:schemeClr>
          </a:solidFill>
        </p:spPr>
        <p:txBody>
          <a:bodyPr wrap="square">
            <a:noAutofit/>
          </a:bodyPr>
          <a:lstStyle>
            <a:lvl1pPr marL="0" indent="0" rtl="0">
              <a:buNone/>
              <a:defRPr/>
            </a:lvl1pPr>
          </a:lstStyle>
          <a:p>
            <a:pPr lvl="0"/>
            <a:r>
              <a:rPr lang="da-DK"/>
              <a:t> </a:t>
            </a:r>
            <a:endParaRPr lang="da-DK" dirty="0"/>
          </a:p>
        </p:txBody>
      </p:sp>
      <p:sp>
        <p:nvSpPr>
          <p:cNvPr id="18" name="Titel 1">
            <a:extLst>
              <a:ext uri="{FF2B5EF4-FFF2-40B4-BE49-F238E27FC236}">
                <a16:creationId xmlns:a16="http://schemas.microsoft.com/office/drawing/2014/main" id="{9BC18D5D-BEB9-4927-939D-CB0865E74EF0}"/>
              </a:ext>
            </a:extLst>
          </p:cNvPr>
          <p:cNvSpPr>
            <a:spLocks noGrp="1"/>
          </p:cNvSpPr>
          <p:nvPr>
            <p:ph type="title"/>
          </p:nvPr>
        </p:nvSpPr>
        <p:spPr>
          <a:xfrm>
            <a:off x="982663" y="225425"/>
            <a:ext cx="5113337" cy="1310480"/>
          </a:xfrm>
        </p:spPr>
        <p:txBody>
          <a:bodyPr vert="horz">
            <a:noAutofit/>
          </a:bodyPr>
          <a:lstStyle>
            <a:lvl1pPr rtl="0">
              <a:defRPr/>
            </a:lvl1pPr>
          </a:lstStyle>
          <a:p>
            <a:r>
              <a:rPr lang="da-DK"/>
              <a:t>Klik for at redigere titeltypografien i masteren</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C9E9BA6B-A909-4C0A-8466-CD595BEE7A3F}"/>
              </a:ext>
            </a:extLst>
          </p:cNvPr>
          <p:cNvSpPr>
            <a:spLocks noGrp="1"/>
          </p:cNvSpPr>
          <p:nvPr>
            <p:ph type="body" sz="quarter" idx="14"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19" name="Pladsholder til tekst 11">
            <a:extLst>
              <a:ext uri="{FF2B5EF4-FFF2-40B4-BE49-F238E27FC236}">
                <a16:creationId xmlns:a16="http://schemas.microsoft.com/office/drawing/2014/main" id="{70CCB88D-D695-4EB7-926A-A112876360AD}"/>
              </a:ext>
            </a:extLst>
          </p:cNvPr>
          <p:cNvSpPr>
            <a:spLocks noGrp="1"/>
          </p:cNvSpPr>
          <p:nvPr>
            <p:ph type="body" sz="quarter" idx="16"/>
          </p:nvPr>
        </p:nvSpPr>
        <p:spPr>
          <a:xfrm>
            <a:off x="982663" y="1808163"/>
            <a:ext cx="4168071"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3" name="TextBox 8">
            <a:extLst>
              <a:ext uri="{FF2B5EF4-FFF2-40B4-BE49-F238E27FC236}">
                <a16:creationId xmlns:a16="http://schemas.microsoft.com/office/drawing/2014/main" id="{C96493EE-CEB4-4D66-95C2-0B294097E5C1}"/>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3912777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g indhold i 2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6E8AE74-7B17-EDE3-BB81-AD934018C725}"/>
              </a:ext>
            </a:extLst>
          </p:cNvPr>
          <p:cNvGraphicFramePr>
            <a:graphicFrameLocks noChangeAspect="1"/>
          </p:cNvGraphicFramePr>
          <p:nvPr userDrawn="1">
            <p:custDataLst>
              <p:tags r:id="rId1"/>
            </p:custDataLst>
            <p:extLst>
              <p:ext uri="{D42A27DB-BD31-4B8C-83A1-F6EECF244321}">
                <p14:modId xmlns:p14="http://schemas.microsoft.com/office/powerpoint/2010/main" val="109311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06E8AE74-7B17-EDE3-BB81-AD934018C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865668458"/>
      </p:ext>
    </p:extLst>
  </p:cSld>
  <p:clrMapOvr>
    <a:masterClrMapping/>
  </p:clrMapOvr>
  <p:extLst>
    <p:ext uri="{DCECCB84-F9BA-43D5-87BE-67443E8EF086}">
      <p15:sldGuideLst xmlns:p15="http://schemas.microsoft.com/office/powerpoint/2012/main">
        <p15:guide id="3" pos="3931" userDrawn="1">
          <p15:clr>
            <a:srgbClr val="FBAE40"/>
          </p15:clr>
        </p15:guide>
        <p15:guide id="4" pos="41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g indhold i 3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87B03DB-BAEC-5561-E2F2-6CA14020B0FA}"/>
              </a:ext>
            </a:extLst>
          </p:cNvPr>
          <p:cNvGraphicFramePr>
            <a:graphicFrameLocks noChangeAspect="1"/>
          </p:cNvGraphicFramePr>
          <p:nvPr userDrawn="1">
            <p:custDataLst>
              <p:tags r:id="rId1"/>
            </p:custDataLst>
            <p:extLst>
              <p:ext uri="{D42A27DB-BD31-4B8C-83A1-F6EECF244321}">
                <p14:modId xmlns:p14="http://schemas.microsoft.com/office/powerpoint/2010/main" val="253315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87B03DB-BAEC-5561-E2F2-6CA14020B0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230172900"/>
      </p:ext>
    </p:extLst>
  </p:cSld>
  <p:clrMapOvr>
    <a:masterClrMapping/>
  </p:clrMapOvr>
  <p:extLst>
    <p:ext uri="{DCECCB84-F9BA-43D5-87BE-67443E8EF086}">
      <p15:sldGuideLst xmlns:p15="http://schemas.microsoft.com/office/powerpoint/2012/main">
        <p15:guide id="1" pos="2751" userDrawn="1">
          <p15:clr>
            <a:srgbClr val="FBAE40"/>
          </p15:clr>
        </p15:guide>
        <p15:guide id="2" pos="2978" userDrawn="1">
          <p15:clr>
            <a:srgbClr val="FBAE40"/>
          </p15:clr>
        </p15:guide>
        <p15:guide id="3" pos="5110" userDrawn="1">
          <p15:clr>
            <a:srgbClr val="FBAE40"/>
          </p15:clr>
        </p15:guide>
        <p15:guide id="4" pos="53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g indhold i 4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407E8C6-0376-2DE4-3C8E-914D1A021849}"/>
              </a:ext>
            </a:extLst>
          </p:cNvPr>
          <p:cNvGraphicFramePr>
            <a:graphicFrameLocks noChangeAspect="1"/>
          </p:cNvGraphicFramePr>
          <p:nvPr userDrawn="1">
            <p:custDataLst>
              <p:tags r:id="rId1"/>
            </p:custDataLst>
            <p:extLst>
              <p:ext uri="{D42A27DB-BD31-4B8C-83A1-F6EECF244321}">
                <p14:modId xmlns:p14="http://schemas.microsoft.com/office/powerpoint/2010/main" val="601676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A407E8C6-0376-2DE4-3C8E-914D1A0218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6599851"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9408445"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Content Placeholder 6">
            <a:extLst>
              <a:ext uri="{FF2B5EF4-FFF2-40B4-BE49-F238E27FC236}">
                <a16:creationId xmlns:a16="http://schemas.microsoft.com/office/drawing/2014/main" id="{6A45B6CB-352F-4E32-AF69-C299C10A51C2}"/>
              </a:ext>
            </a:extLst>
          </p:cNvPr>
          <p:cNvSpPr>
            <a:spLocks noGrp="1"/>
          </p:cNvSpPr>
          <p:nvPr>
            <p:ph sz="quarter" idx="16"/>
          </p:nvPr>
        </p:nvSpPr>
        <p:spPr>
          <a:xfrm>
            <a:off x="3791257"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463015649"/>
      </p:ext>
    </p:extLst>
  </p:cSld>
  <p:clrMapOvr>
    <a:masterClrMapping/>
  </p:clrMapOvr>
  <p:extLst>
    <p:ext uri="{DCECCB84-F9BA-43D5-87BE-67443E8EF086}">
      <p15:sldGuideLst xmlns:p15="http://schemas.microsoft.com/office/powerpoint/2012/main">
        <p15:guide id="1" pos="2162" userDrawn="1">
          <p15:clr>
            <a:srgbClr val="FBAE40"/>
          </p15:clr>
        </p15:guide>
        <p15:guide id="2" pos="2387" userDrawn="1">
          <p15:clr>
            <a:srgbClr val="FBAE40"/>
          </p15:clr>
        </p15:guide>
        <p15:guide id="3" pos="5700" userDrawn="1">
          <p15:clr>
            <a:srgbClr val="FBAE40"/>
          </p15:clr>
        </p15:guide>
        <p15:guide id="4" pos="5926" userDrawn="1">
          <p15:clr>
            <a:srgbClr val="FBAE40"/>
          </p15:clr>
        </p15:guide>
        <p15:guide id="5" pos="3931" userDrawn="1">
          <p15:clr>
            <a:srgbClr val="FBAE40"/>
          </p15:clr>
        </p15:guide>
        <p15:guide id="6" pos="41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og 2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0CD790-3C72-3174-9BB9-AAC04CCFEA37}"/>
              </a:ext>
            </a:extLst>
          </p:cNvPr>
          <p:cNvGraphicFramePr>
            <a:graphicFrameLocks noChangeAspect="1"/>
          </p:cNvGraphicFramePr>
          <p:nvPr userDrawn="1">
            <p:custDataLst>
              <p:tags r:id="rId1"/>
            </p:custDataLst>
            <p:extLst>
              <p:ext uri="{D42A27DB-BD31-4B8C-83A1-F6EECF244321}">
                <p14:modId xmlns:p14="http://schemas.microsoft.com/office/powerpoint/2010/main" val="273335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D0CD790-3C72-3174-9BB9-AAC04CCFE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1" name="Picture Placeholder 10">
            <a:extLst>
              <a:ext uri="{FF2B5EF4-FFF2-40B4-BE49-F238E27FC236}">
                <a16:creationId xmlns:a16="http://schemas.microsoft.com/office/drawing/2014/main" id="{40CE05F4-9D00-4DC5-A363-94352566B16D}"/>
              </a:ext>
            </a:extLst>
          </p:cNvPr>
          <p:cNvSpPr>
            <a:spLocks noGrp="1"/>
          </p:cNvSpPr>
          <p:nvPr>
            <p:ph type="pic" sz="quarter" idx="16"/>
          </p:nvPr>
        </p:nvSpPr>
        <p:spPr>
          <a:xfrm>
            <a:off x="982663"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9DDCD743-188F-4B86-8747-1E373705BA9C}"/>
              </a:ext>
            </a:extLst>
          </p:cNvPr>
          <p:cNvSpPr>
            <a:spLocks noGrp="1"/>
          </p:cNvSpPr>
          <p:nvPr>
            <p:ph type="pic" sz="quarter" idx="18"/>
          </p:nvPr>
        </p:nvSpPr>
        <p:spPr>
          <a:xfrm>
            <a:off x="6599850"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2002834051"/>
      </p:ext>
    </p:extLst>
  </p:cSld>
  <p:clrMapOvr>
    <a:masterClrMapping/>
  </p:clrMapOvr>
  <p:extLst>
    <p:ext uri="{DCECCB84-F9BA-43D5-87BE-67443E8EF086}">
      <p15:sldGuideLst xmlns:p15="http://schemas.microsoft.com/office/powerpoint/2012/main">
        <p15:guide id="1" pos="3674" userDrawn="1">
          <p15:clr>
            <a:srgbClr val="FBAE40"/>
          </p15:clr>
        </p15:guide>
        <p15:guide id="2" pos="401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g 3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4B3E18-6AF9-96A9-7EF6-3F8F268D7B69}"/>
              </a:ext>
            </a:extLst>
          </p:cNvPr>
          <p:cNvGraphicFramePr>
            <a:graphicFrameLocks noChangeAspect="1"/>
          </p:cNvGraphicFramePr>
          <p:nvPr userDrawn="1">
            <p:custDataLst>
              <p:tags r:id="rId1"/>
            </p:custDataLst>
            <p:extLst>
              <p:ext uri="{D42A27DB-BD31-4B8C-83A1-F6EECF244321}">
                <p14:modId xmlns:p14="http://schemas.microsoft.com/office/powerpoint/2010/main" val="98885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894B3E18-6AF9-96A9-7EF6-3F8F268D7B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icture Placeholder 10">
            <a:extLst>
              <a:ext uri="{FF2B5EF4-FFF2-40B4-BE49-F238E27FC236}">
                <a16:creationId xmlns:a16="http://schemas.microsoft.com/office/drawing/2014/main" id="{52179531-8123-4684-8DC8-C0C8F5375C25}"/>
              </a:ext>
            </a:extLst>
          </p:cNvPr>
          <p:cNvSpPr>
            <a:spLocks noGrp="1"/>
          </p:cNvSpPr>
          <p:nvPr>
            <p:ph type="pic" sz="quarter" idx="16"/>
          </p:nvPr>
        </p:nvSpPr>
        <p:spPr>
          <a:xfrm>
            <a:off x="982663"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86BB78F2-84F0-4A0A-9793-68171CF5E7E1}"/>
              </a:ext>
            </a:extLst>
          </p:cNvPr>
          <p:cNvSpPr>
            <a:spLocks noGrp="1"/>
          </p:cNvSpPr>
          <p:nvPr>
            <p:ph type="pic" sz="quarter" idx="18"/>
          </p:nvPr>
        </p:nvSpPr>
        <p:spPr>
          <a:xfrm>
            <a:off x="4727455"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4" name="Picture Placeholder 10">
            <a:extLst>
              <a:ext uri="{FF2B5EF4-FFF2-40B4-BE49-F238E27FC236}">
                <a16:creationId xmlns:a16="http://schemas.microsoft.com/office/drawing/2014/main" id="{4377A560-23C0-491F-BDB7-C58123E772DF}"/>
              </a:ext>
            </a:extLst>
          </p:cNvPr>
          <p:cNvSpPr>
            <a:spLocks noGrp="1"/>
          </p:cNvSpPr>
          <p:nvPr>
            <p:ph type="pic" sz="quarter" idx="19"/>
          </p:nvPr>
        </p:nvSpPr>
        <p:spPr>
          <a:xfrm>
            <a:off x="8472247"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3511884162"/>
      </p:ext>
    </p:extLst>
  </p:cSld>
  <p:clrMapOvr>
    <a:masterClrMapping/>
  </p:clrMapOvr>
  <p:extLst>
    <p:ext uri="{DCECCB84-F9BA-43D5-87BE-67443E8EF086}">
      <p15:sldGuideLst xmlns:p15="http://schemas.microsoft.com/office/powerpoint/2012/main">
        <p15:guide id="1" pos="2751">
          <p15:clr>
            <a:srgbClr val="FBAE40"/>
          </p15:clr>
        </p15:guide>
        <p15:guide id="2" pos="2978">
          <p15:clr>
            <a:srgbClr val="FBAE40"/>
          </p15:clr>
        </p15:guide>
        <p15:guide id="3" pos="5110">
          <p15:clr>
            <a:srgbClr val="FBAE40"/>
          </p15:clr>
        </p15:guide>
        <p15:guide id="4" pos="53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g 4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F67402E-0A98-654F-37FA-246E12DB1E2B}"/>
              </a:ext>
            </a:extLst>
          </p:cNvPr>
          <p:cNvGraphicFramePr>
            <a:graphicFrameLocks noChangeAspect="1"/>
          </p:cNvGraphicFramePr>
          <p:nvPr userDrawn="1">
            <p:custDataLst>
              <p:tags r:id="rId1"/>
            </p:custDataLst>
            <p:extLst>
              <p:ext uri="{D42A27DB-BD31-4B8C-83A1-F6EECF244321}">
                <p14:modId xmlns:p14="http://schemas.microsoft.com/office/powerpoint/2010/main" val="55288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DF67402E-0A98-654F-37FA-246E12DB1E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1" name="Content Placeholder 6">
            <a:extLst>
              <a:ext uri="{FF2B5EF4-FFF2-40B4-BE49-F238E27FC236}">
                <a16:creationId xmlns:a16="http://schemas.microsoft.com/office/drawing/2014/main" id="{F7E1B724-1863-4934-82EC-6D065E0A0F15}"/>
              </a:ext>
            </a:extLst>
          </p:cNvPr>
          <p:cNvSpPr>
            <a:spLocks noGrp="1"/>
          </p:cNvSpPr>
          <p:nvPr>
            <p:ph sz="quarter" idx="13"/>
          </p:nvPr>
        </p:nvSpPr>
        <p:spPr>
          <a:xfrm>
            <a:off x="982662"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Content Placeholder 6">
            <a:extLst>
              <a:ext uri="{FF2B5EF4-FFF2-40B4-BE49-F238E27FC236}">
                <a16:creationId xmlns:a16="http://schemas.microsoft.com/office/drawing/2014/main" id="{41975656-DFB7-4063-B691-5AD6F9E0901C}"/>
              </a:ext>
            </a:extLst>
          </p:cNvPr>
          <p:cNvSpPr>
            <a:spLocks noGrp="1"/>
          </p:cNvSpPr>
          <p:nvPr>
            <p:ph sz="quarter" idx="14"/>
          </p:nvPr>
        </p:nvSpPr>
        <p:spPr>
          <a:xfrm>
            <a:off x="3791256"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Content Placeholder 6">
            <a:extLst>
              <a:ext uri="{FF2B5EF4-FFF2-40B4-BE49-F238E27FC236}">
                <a16:creationId xmlns:a16="http://schemas.microsoft.com/office/drawing/2014/main" id="{22C5418F-AF34-42EC-8A58-7BF2F892BD62}"/>
              </a:ext>
            </a:extLst>
          </p:cNvPr>
          <p:cNvSpPr>
            <a:spLocks noGrp="1"/>
          </p:cNvSpPr>
          <p:nvPr>
            <p:ph sz="quarter" idx="15"/>
          </p:nvPr>
        </p:nvSpPr>
        <p:spPr>
          <a:xfrm>
            <a:off x="9408445"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icture Placeholder 10">
            <a:extLst>
              <a:ext uri="{FF2B5EF4-FFF2-40B4-BE49-F238E27FC236}">
                <a16:creationId xmlns:a16="http://schemas.microsoft.com/office/drawing/2014/main" id="{AA708B7D-C86C-42CC-B31B-727B57E41D73}"/>
              </a:ext>
            </a:extLst>
          </p:cNvPr>
          <p:cNvSpPr>
            <a:spLocks noGrp="1"/>
          </p:cNvSpPr>
          <p:nvPr>
            <p:ph type="pic" sz="quarter" idx="16"/>
          </p:nvPr>
        </p:nvSpPr>
        <p:spPr>
          <a:xfrm>
            <a:off x="982663"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5" name="Picture Placeholder 10">
            <a:extLst>
              <a:ext uri="{FF2B5EF4-FFF2-40B4-BE49-F238E27FC236}">
                <a16:creationId xmlns:a16="http://schemas.microsoft.com/office/drawing/2014/main" id="{C2B809B3-8F1B-4F1D-9FFA-7FBAD2E26A4B}"/>
              </a:ext>
            </a:extLst>
          </p:cNvPr>
          <p:cNvSpPr>
            <a:spLocks noGrp="1"/>
          </p:cNvSpPr>
          <p:nvPr>
            <p:ph type="pic" sz="quarter" idx="18"/>
          </p:nvPr>
        </p:nvSpPr>
        <p:spPr>
          <a:xfrm>
            <a:off x="3791257"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6" name="Picture Placeholder 10">
            <a:extLst>
              <a:ext uri="{FF2B5EF4-FFF2-40B4-BE49-F238E27FC236}">
                <a16:creationId xmlns:a16="http://schemas.microsoft.com/office/drawing/2014/main" id="{2E6382C7-BB6A-4A21-8265-F37ECCC6FF11}"/>
              </a:ext>
            </a:extLst>
          </p:cNvPr>
          <p:cNvSpPr>
            <a:spLocks noGrp="1"/>
          </p:cNvSpPr>
          <p:nvPr>
            <p:ph type="pic" sz="quarter" idx="19"/>
          </p:nvPr>
        </p:nvSpPr>
        <p:spPr>
          <a:xfrm>
            <a:off x="9408445"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7" name="Content Placeholder 6">
            <a:extLst>
              <a:ext uri="{FF2B5EF4-FFF2-40B4-BE49-F238E27FC236}">
                <a16:creationId xmlns:a16="http://schemas.microsoft.com/office/drawing/2014/main" id="{826194ED-C5B4-4BF4-88B1-17C18E2D722C}"/>
              </a:ext>
            </a:extLst>
          </p:cNvPr>
          <p:cNvSpPr>
            <a:spLocks noGrp="1"/>
          </p:cNvSpPr>
          <p:nvPr>
            <p:ph sz="quarter" idx="20"/>
          </p:nvPr>
        </p:nvSpPr>
        <p:spPr>
          <a:xfrm>
            <a:off x="6599851"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icture Placeholder 10">
            <a:extLst>
              <a:ext uri="{FF2B5EF4-FFF2-40B4-BE49-F238E27FC236}">
                <a16:creationId xmlns:a16="http://schemas.microsoft.com/office/drawing/2014/main" id="{1807E5E9-1B45-4641-B765-AAEC167C62E6}"/>
              </a:ext>
            </a:extLst>
          </p:cNvPr>
          <p:cNvSpPr>
            <a:spLocks noGrp="1"/>
          </p:cNvSpPr>
          <p:nvPr>
            <p:ph type="pic" sz="quarter" idx="21"/>
          </p:nvPr>
        </p:nvSpPr>
        <p:spPr>
          <a:xfrm>
            <a:off x="6599851"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1427491588"/>
      </p:ext>
    </p:extLst>
  </p:cSld>
  <p:clrMapOvr>
    <a:masterClrMapping/>
  </p:clrMapOvr>
  <p:extLst>
    <p:ext uri="{DCECCB84-F9BA-43D5-87BE-67443E8EF086}">
      <p15:sldGuideLst xmlns:p15="http://schemas.microsoft.com/office/powerpoint/2012/main">
        <p15:guide id="1" pos="2162">
          <p15:clr>
            <a:srgbClr val="FBAE40"/>
          </p15:clr>
        </p15:guide>
        <p15:guide id="2" pos="2387">
          <p15:clr>
            <a:srgbClr val="FBAE40"/>
          </p15:clr>
        </p15:guide>
        <p15:guide id="3" pos="5700">
          <p15:clr>
            <a:srgbClr val="FBAE40"/>
          </p15:clr>
        </p15:guide>
        <p15:guide id="4" pos="5926">
          <p15:clr>
            <a:srgbClr val="FBAE40"/>
          </p15:clr>
        </p15:guide>
        <p15:guide id="5" pos="3931">
          <p15:clr>
            <a:srgbClr val="FBAE40"/>
          </p15:clr>
        </p15:guide>
        <p15:guide id="6" pos="41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 med fuldt bille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F0513D3-A647-9A26-7977-459430610D1B}"/>
              </a:ext>
            </a:extLst>
          </p:cNvPr>
          <p:cNvGraphicFramePr>
            <a:graphicFrameLocks noChangeAspect="1"/>
          </p:cNvGraphicFramePr>
          <p:nvPr userDrawn="1">
            <p:custDataLst>
              <p:tags r:id="rId1"/>
            </p:custDataLst>
            <p:extLst>
              <p:ext uri="{D42A27DB-BD31-4B8C-83A1-F6EECF244321}">
                <p14:modId xmlns:p14="http://schemas.microsoft.com/office/powerpoint/2010/main" val="113620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AF0513D3-A647-9A26-7977-459430610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6" name="Pladsholder til tekst 35">
            <a:extLst>
              <a:ext uri="{FF2B5EF4-FFF2-40B4-BE49-F238E27FC236}">
                <a16:creationId xmlns:a16="http://schemas.microsoft.com/office/drawing/2014/main" id="{E965B3AD-EE9F-4A21-8AAE-0CF487A6FB7B}"/>
              </a:ext>
            </a:extLst>
          </p:cNvPr>
          <p:cNvSpPr>
            <a:spLocks noGrp="1"/>
          </p:cNvSpPr>
          <p:nvPr>
            <p:ph type="body" sz="quarter" idx="20" hasCustomPrompt="1"/>
          </p:nvPr>
        </p:nvSpPr>
        <p:spPr>
          <a:xfrm>
            <a:off x="10591" y="0"/>
            <a:ext cx="7116237" cy="5222096"/>
          </a:xfrm>
          <a:custGeom>
            <a:avLst/>
            <a:gdLst>
              <a:gd name="connsiteX0" fmla="*/ 0 w 7116237"/>
              <a:gd name="connsiteY0" fmla="*/ 0 h 5222096"/>
              <a:gd name="connsiteX1" fmla="*/ 7116237 w 7116237"/>
              <a:gd name="connsiteY1" fmla="*/ 0 h 5222096"/>
              <a:gd name="connsiteX2" fmla="*/ 5619584 w 7116237"/>
              <a:gd name="connsiteY2" fmla="*/ 5222096 h 5222096"/>
              <a:gd name="connsiteX3" fmla="*/ 0 w 7116237"/>
              <a:gd name="connsiteY3" fmla="*/ 5222096 h 5222096"/>
            </a:gdLst>
            <a:ahLst/>
            <a:cxnLst>
              <a:cxn ang="0">
                <a:pos x="connsiteX0" y="connsiteY0"/>
              </a:cxn>
              <a:cxn ang="0">
                <a:pos x="connsiteX1" y="connsiteY1"/>
              </a:cxn>
              <a:cxn ang="0">
                <a:pos x="connsiteX2" y="connsiteY2"/>
              </a:cxn>
              <a:cxn ang="0">
                <a:pos x="connsiteX3" y="connsiteY3"/>
              </a:cxn>
            </a:cxnLst>
            <a:rect l="l" t="t" r="r" b="b"/>
            <a:pathLst>
              <a:path w="7116237" h="5222096">
                <a:moveTo>
                  <a:pt x="0" y="0"/>
                </a:moveTo>
                <a:lnTo>
                  <a:pt x="7116237" y="0"/>
                </a:lnTo>
                <a:lnTo>
                  <a:pt x="5619584" y="5222096"/>
                </a:lnTo>
                <a:lnTo>
                  <a:pt x="0" y="5222096"/>
                </a:lnTo>
                <a:close/>
              </a:path>
            </a:pathLst>
          </a:custGeom>
          <a:solidFill>
            <a:schemeClr val="bg1"/>
          </a:solidFill>
        </p:spPr>
        <p:txBody>
          <a:bodyPr wrap="square">
            <a:noAutofit/>
          </a:bodyPr>
          <a:lstStyle>
            <a:lvl1pPr marL="0" indent="0" rtl="0">
              <a:buNone/>
              <a:defRPr/>
            </a:lvl1pPr>
          </a:lstStyle>
          <a:p>
            <a:pPr lvl="0"/>
            <a:r>
              <a:rPr lang="da-DK"/>
              <a:t> </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Pladsholder til tekst 27">
            <a:extLst>
              <a:ext uri="{FF2B5EF4-FFF2-40B4-BE49-F238E27FC236}">
                <a16:creationId xmlns:a16="http://schemas.microsoft.com/office/drawing/2014/main" id="{B631F2FF-4D98-41D0-99C3-F0535BA34965}"/>
              </a:ext>
            </a:extLst>
          </p:cNvPr>
          <p:cNvSpPr>
            <a:spLocks noGrp="1"/>
          </p:cNvSpPr>
          <p:nvPr>
            <p:ph type="body" sz="quarter" idx="17" hasCustomPrompt="1"/>
          </p:nvPr>
        </p:nvSpPr>
        <p:spPr>
          <a:xfrm>
            <a:off x="982663" y="893763"/>
            <a:ext cx="4595177" cy="2641917"/>
          </a:xfrm>
        </p:spPr>
        <p:txBody>
          <a:bodyPr/>
          <a:lstStyle>
            <a:lvl1pPr marL="165100" indent="-165100" rtl="0">
              <a:buNone/>
              <a:defRPr sz="2800" b="1"/>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29" name="Pladsholder til tekst 27">
            <a:extLst>
              <a:ext uri="{FF2B5EF4-FFF2-40B4-BE49-F238E27FC236}">
                <a16:creationId xmlns:a16="http://schemas.microsoft.com/office/drawing/2014/main" id="{7D86C3A8-CC69-48DD-A8AB-DA43FCA85FF9}"/>
              </a:ext>
            </a:extLst>
          </p:cNvPr>
          <p:cNvSpPr>
            <a:spLocks noGrp="1"/>
          </p:cNvSpPr>
          <p:nvPr>
            <p:ph type="body" sz="quarter" idx="18" hasCustomPrompt="1"/>
          </p:nvPr>
        </p:nvSpPr>
        <p:spPr>
          <a:xfrm>
            <a:off x="982663" y="3901123"/>
            <a:ext cx="4595177" cy="559117"/>
          </a:xfrm>
        </p:spPr>
        <p:txBody>
          <a:bodyPr anchor="b"/>
          <a:lstStyle>
            <a:lvl1pPr marL="0" indent="0" rtl="0">
              <a:buNone/>
              <a:defRPr sz="2000"/>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30" name="Pladsholder til tekst 27">
            <a:extLst>
              <a:ext uri="{FF2B5EF4-FFF2-40B4-BE49-F238E27FC236}">
                <a16:creationId xmlns:a16="http://schemas.microsoft.com/office/drawing/2014/main" id="{AF9B4576-96C2-4288-8D1B-684C7112FCDF}"/>
              </a:ext>
            </a:extLst>
          </p:cNvPr>
          <p:cNvSpPr>
            <a:spLocks noGrp="1"/>
          </p:cNvSpPr>
          <p:nvPr>
            <p:ph type="body" sz="quarter" idx="19" hasCustomPrompt="1"/>
          </p:nvPr>
        </p:nvSpPr>
        <p:spPr>
          <a:xfrm>
            <a:off x="982663" y="4496240"/>
            <a:ext cx="4595177" cy="559117"/>
          </a:xfrm>
        </p:spPr>
        <p:txBody>
          <a:bodyPr anchor="t"/>
          <a:lstStyle>
            <a:lvl1pPr marL="0" indent="0" rtl="0">
              <a:buNone/>
              <a:defRPr sz="2000"/>
            </a:lvl1pPr>
            <a:lvl2pPr>
              <a:defRPr sz="2800"/>
            </a:lvl2pPr>
            <a:lvl3pPr>
              <a:defRPr sz="2800"/>
            </a:lvl3pPr>
            <a:lvl4pPr>
              <a:defRPr sz="2800"/>
            </a:lvl4pPr>
            <a:lvl5pPr>
              <a:defRPr sz="2800"/>
            </a:lvl5pPr>
          </a:lstStyle>
          <a:p>
            <a:pPr lvl="0"/>
            <a:r>
              <a:rPr lang="da-DK"/>
              <a:t>Klik for at indsætte virksomhed</a:t>
            </a:r>
            <a:endParaRPr lang="da-DK" dirty="0"/>
          </a:p>
        </p:txBody>
      </p:sp>
      <p:sp>
        <p:nvSpPr>
          <p:cNvPr id="33" name="TextBox 8">
            <a:extLst>
              <a:ext uri="{FF2B5EF4-FFF2-40B4-BE49-F238E27FC236}">
                <a16:creationId xmlns:a16="http://schemas.microsoft.com/office/drawing/2014/main" id="{3F8274B9-A14B-4EF8-8547-543E8342075F}"/>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12" name="Pladsholder til tekst 9">
            <a:extLst>
              <a:ext uri="{FF2B5EF4-FFF2-40B4-BE49-F238E27FC236}">
                <a16:creationId xmlns:a16="http://schemas.microsoft.com/office/drawing/2014/main" id="{FBAD2409-8FA6-44A8-980A-AC5EF1EDB95E}"/>
              </a:ext>
            </a:extLst>
          </p:cNvPr>
          <p:cNvSpPr>
            <a:spLocks noGrp="1"/>
          </p:cNvSpPr>
          <p:nvPr>
            <p:ph type="body" sz="quarter" idx="21"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421122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d hvidt logo til mørk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26A0E6-6391-3B1A-8CE6-894498A6F9D0}"/>
              </a:ext>
            </a:extLst>
          </p:cNvPr>
          <p:cNvGraphicFramePr>
            <a:graphicFrameLocks noChangeAspect="1"/>
          </p:cNvGraphicFramePr>
          <p:nvPr userDrawn="1">
            <p:custDataLst>
              <p:tags r:id="rId1"/>
            </p:custDataLst>
            <p:extLst>
              <p:ext uri="{D42A27DB-BD31-4B8C-83A1-F6EECF244321}">
                <p14:modId xmlns:p14="http://schemas.microsoft.com/office/powerpoint/2010/main" val="3555992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7C26A0E6-6391-3B1A-8CE6-894498A6F9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bg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8" name="Pladsholder til tekst 9">
            <a:extLst>
              <a:ext uri="{FF2B5EF4-FFF2-40B4-BE49-F238E27FC236}">
                <a16:creationId xmlns:a16="http://schemas.microsoft.com/office/drawing/2014/main" id="{16F701CD-4BAF-4794-A72E-193C61A403C3}"/>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22" name="TextBox 8">
            <a:extLst>
              <a:ext uri="{FF2B5EF4-FFF2-40B4-BE49-F238E27FC236}">
                <a16:creationId xmlns:a16="http://schemas.microsoft.com/office/drawing/2014/main" id="{7B05331B-4732-4B64-9AE5-022C6BC76C13}"/>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215719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itat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C12F142-4E09-486C-70DF-B4359EB7A1E0}"/>
              </a:ext>
            </a:extLst>
          </p:cNvPr>
          <p:cNvGraphicFramePr>
            <a:graphicFrameLocks noChangeAspect="1"/>
          </p:cNvGraphicFramePr>
          <p:nvPr userDrawn="1">
            <p:custDataLst>
              <p:tags r:id="rId1"/>
            </p:custDataLst>
            <p:extLst>
              <p:ext uri="{D42A27DB-BD31-4B8C-83A1-F6EECF244321}">
                <p14:modId xmlns:p14="http://schemas.microsoft.com/office/powerpoint/2010/main" val="310700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EC12F142-4E09-486C-70DF-B4359EB7A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27">
            <a:extLst>
              <a:ext uri="{FF2B5EF4-FFF2-40B4-BE49-F238E27FC236}">
                <a16:creationId xmlns:a16="http://schemas.microsoft.com/office/drawing/2014/main" id="{EC54937F-5C47-47DE-BBED-0C6D35450F6A}"/>
              </a:ext>
            </a:extLst>
          </p:cNvPr>
          <p:cNvSpPr>
            <a:spLocks noGrp="1"/>
          </p:cNvSpPr>
          <p:nvPr>
            <p:ph type="body" sz="quarter" idx="17" hasCustomPrompt="1"/>
          </p:nvPr>
        </p:nvSpPr>
        <p:spPr>
          <a:xfrm>
            <a:off x="982663" y="893763"/>
            <a:ext cx="9177337" cy="2641917"/>
          </a:xfrm>
        </p:spPr>
        <p:txBody>
          <a:bodyPr/>
          <a:lstStyle>
            <a:lvl1pPr marL="246063" indent="-246063" rtl="0">
              <a:buNone/>
              <a:defRPr sz="4800" b="1">
                <a:solidFill>
                  <a:schemeClr val="bg1"/>
                </a:solidFill>
              </a:defRPr>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11" name="Pladsholder til tekst 27">
            <a:extLst>
              <a:ext uri="{FF2B5EF4-FFF2-40B4-BE49-F238E27FC236}">
                <a16:creationId xmlns:a16="http://schemas.microsoft.com/office/drawing/2014/main" id="{4214CA9E-C795-4866-9FF0-38C28911BB9D}"/>
              </a:ext>
            </a:extLst>
          </p:cNvPr>
          <p:cNvSpPr>
            <a:spLocks noGrp="1"/>
          </p:cNvSpPr>
          <p:nvPr>
            <p:ph type="body" sz="quarter" idx="18" hasCustomPrompt="1"/>
          </p:nvPr>
        </p:nvSpPr>
        <p:spPr>
          <a:xfrm>
            <a:off x="982663" y="3901123"/>
            <a:ext cx="9177337" cy="559117"/>
          </a:xfrm>
        </p:spPr>
        <p:txBody>
          <a:bodyPr anchor="b"/>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12" name="Pladsholder til tekst 27">
            <a:extLst>
              <a:ext uri="{FF2B5EF4-FFF2-40B4-BE49-F238E27FC236}">
                <a16:creationId xmlns:a16="http://schemas.microsoft.com/office/drawing/2014/main" id="{C971CBE6-8195-46E1-AEA2-BD555ECCC0A9}"/>
              </a:ext>
            </a:extLst>
          </p:cNvPr>
          <p:cNvSpPr>
            <a:spLocks noGrp="1"/>
          </p:cNvSpPr>
          <p:nvPr>
            <p:ph type="body" sz="quarter" idx="19" hasCustomPrompt="1"/>
          </p:nvPr>
        </p:nvSpPr>
        <p:spPr>
          <a:xfrm>
            <a:off x="982663" y="4496240"/>
            <a:ext cx="9177337" cy="559117"/>
          </a:xfrm>
        </p:spPr>
        <p:txBody>
          <a:bodyPr anchor="t"/>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Virksomhed</a:t>
            </a:r>
            <a:endParaRPr lang="da-DK" dirty="0"/>
          </a:p>
        </p:txBody>
      </p:sp>
      <p:sp>
        <p:nvSpPr>
          <p:cNvPr id="7" name="Pladsholder til slidenummer 6">
            <a:extLst>
              <a:ext uri="{FF2B5EF4-FFF2-40B4-BE49-F238E27FC236}">
                <a16:creationId xmlns:a16="http://schemas.microsoft.com/office/drawing/2014/main" id="{FA5094E7-11C9-418B-BA06-9C3719BEDDDA}"/>
              </a:ext>
            </a:extLst>
          </p:cNvPr>
          <p:cNvSpPr>
            <a:spLocks noGrp="1"/>
          </p:cNvSpPr>
          <p:nvPr>
            <p:ph type="sldNum" sz="quarter" idx="2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9" name="Pladsholder til tekst 9">
            <a:extLst>
              <a:ext uri="{FF2B5EF4-FFF2-40B4-BE49-F238E27FC236}">
                <a16:creationId xmlns:a16="http://schemas.microsoft.com/office/drawing/2014/main" id="{7903A596-7BB0-412B-B416-763BFCF93DA7}"/>
              </a:ext>
            </a:extLst>
          </p:cNvPr>
          <p:cNvSpPr>
            <a:spLocks noGrp="1"/>
          </p:cNvSpPr>
          <p:nvPr>
            <p:ph type="body" sz="quarter" idx="23"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013684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251417E-2501-E881-FC04-B6D712425DBF}"/>
              </a:ext>
            </a:extLst>
          </p:cNvPr>
          <p:cNvGraphicFramePr>
            <a:graphicFrameLocks noChangeAspect="1"/>
          </p:cNvGraphicFramePr>
          <p:nvPr userDrawn="1">
            <p:custDataLst>
              <p:tags r:id="rId1"/>
            </p:custDataLst>
            <p:extLst>
              <p:ext uri="{D42A27DB-BD31-4B8C-83A1-F6EECF244321}">
                <p14:modId xmlns:p14="http://schemas.microsoft.com/office/powerpoint/2010/main" val="43456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251417E-2501-E881-FC04-B6D71242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5" name="Slide Number Placeholder 4"/>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799966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991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ammen er vi ren energi">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2B34963-242D-90C7-1E7A-AB958EBC24B4}"/>
              </a:ext>
            </a:extLst>
          </p:cNvPr>
          <p:cNvGraphicFramePr>
            <a:graphicFrameLocks noChangeAspect="1"/>
          </p:cNvGraphicFramePr>
          <p:nvPr userDrawn="1">
            <p:custDataLst>
              <p:tags r:id="rId1"/>
            </p:custDataLst>
            <p:extLst>
              <p:ext uri="{D42A27DB-BD31-4B8C-83A1-F6EECF244321}">
                <p14:modId xmlns:p14="http://schemas.microsoft.com/office/powerpoint/2010/main" val="4091219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B2B34963-242D-90C7-1E7A-AB958EBC2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9">
            <a:extLst>
              <a:ext uri="{FF2B5EF4-FFF2-40B4-BE49-F238E27FC236}">
                <a16:creationId xmlns:a16="http://schemas.microsoft.com/office/drawing/2014/main" id="{B1EB893E-E72C-4865-BCEB-316B4E1923B0}"/>
              </a:ext>
            </a:extLst>
          </p:cNvPr>
          <p:cNvSpPr>
            <a:spLocks noGrp="1"/>
          </p:cNvSpPr>
          <p:nvPr>
            <p:ph type="body" sz="quarter" idx="16" hasCustomPrompt="1"/>
          </p:nvPr>
        </p:nvSpPr>
        <p:spPr>
          <a:xfrm>
            <a:off x="9221040" y="5739281"/>
            <a:ext cx="2404504"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telefonnummer (+45 xxxx xxxx</a:t>
            </a:r>
            <a:endParaRPr lang="da-DK" dirty="0"/>
          </a:p>
        </p:txBody>
      </p:sp>
      <p:sp>
        <p:nvSpPr>
          <p:cNvPr id="15" name="Tekstfelt 14">
            <a:extLst>
              <a:ext uri="{FF2B5EF4-FFF2-40B4-BE49-F238E27FC236}">
                <a16:creationId xmlns:a16="http://schemas.microsoft.com/office/drawing/2014/main" id="{0361AE4B-7609-4632-9401-0DC42BA537BD}"/>
              </a:ext>
            </a:extLst>
          </p:cNvPr>
          <p:cNvSpPr txBox="1"/>
          <p:nvPr userDrawn="1"/>
        </p:nvSpPr>
        <p:spPr>
          <a:xfrm>
            <a:off x="9652758" y="5166816"/>
            <a:ext cx="1972786" cy="184666"/>
          </a:xfrm>
          <a:prstGeom prst="rect">
            <a:avLst/>
          </a:prstGeom>
          <a:noFill/>
        </p:spPr>
        <p:txBody>
          <a:bodyPr wrap="square" lIns="0" tIns="0" rIns="0" bIns="0" anchor="t">
            <a:noAutofit/>
          </a:bodyPr>
          <a:lstStyle/>
          <a:p>
            <a:pPr algn="r" rtl="0"/>
            <a:r>
              <a:rPr lang="da-DK" sz="1200" b="1">
                <a:solidFill>
                  <a:schemeClr val="bg1"/>
                </a:solidFill>
              </a:rPr>
              <a:t>NRGi</a:t>
            </a:r>
            <a:endParaRPr lang="da-DK" sz="1200" b="1" dirty="0">
              <a:solidFill>
                <a:schemeClr val="bg1"/>
              </a:solidFill>
            </a:endParaRPr>
          </a:p>
        </p:txBody>
      </p:sp>
      <p:sp>
        <p:nvSpPr>
          <p:cNvPr id="16" name="Tekstfelt 15">
            <a:extLst>
              <a:ext uri="{FF2B5EF4-FFF2-40B4-BE49-F238E27FC236}">
                <a16:creationId xmlns:a16="http://schemas.microsoft.com/office/drawing/2014/main" id="{37E301B3-E7D6-40A4-963F-25C6883E5A50}"/>
              </a:ext>
            </a:extLst>
          </p:cNvPr>
          <p:cNvSpPr txBox="1"/>
          <p:nvPr userDrawn="1"/>
        </p:nvSpPr>
        <p:spPr>
          <a:xfrm>
            <a:off x="9652758" y="5536148"/>
            <a:ext cx="1972786" cy="184666"/>
          </a:xfrm>
          <a:prstGeom prst="rect">
            <a:avLst/>
          </a:prstGeom>
          <a:noFill/>
        </p:spPr>
        <p:txBody>
          <a:bodyPr wrap="square" lIns="0" tIns="0" rIns="0" bIns="0" anchor="t">
            <a:noAutofit/>
          </a:bodyPr>
          <a:lstStyle/>
          <a:p>
            <a:pPr algn="r" rtl="0"/>
            <a:r>
              <a:rPr lang="da-DK" sz="1200">
                <a:solidFill>
                  <a:schemeClr val="bg1"/>
                </a:solidFill>
              </a:rPr>
              <a:t>DK-8200 Aarhus N</a:t>
            </a:r>
            <a:endParaRPr lang="da-DK" sz="1200" dirty="0">
              <a:solidFill>
                <a:schemeClr val="bg1"/>
              </a:solidFill>
            </a:endParaRPr>
          </a:p>
        </p:txBody>
      </p:sp>
      <p:sp>
        <p:nvSpPr>
          <p:cNvPr id="20" name="Tekstfelt 19">
            <a:extLst>
              <a:ext uri="{FF2B5EF4-FFF2-40B4-BE49-F238E27FC236}">
                <a16:creationId xmlns:a16="http://schemas.microsoft.com/office/drawing/2014/main" id="{E1A26097-CD01-4F99-BE32-FB4F5B7EEBCC}"/>
              </a:ext>
            </a:extLst>
          </p:cNvPr>
          <p:cNvSpPr txBox="1"/>
          <p:nvPr userDrawn="1"/>
        </p:nvSpPr>
        <p:spPr>
          <a:xfrm>
            <a:off x="9652758" y="6090146"/>
            <a:ext cx="1972786" cy="184666"/>
          </a:xfrm>
          <a:prstGeom prst="rect">
            <a:avLst/>
          </a:prstGeom>
          <a:noFill/>
        </p:spPr>
        <p:txBody>
          <a:bodyPr wrap="square" lIns="0" tIns="0" rIns="0" bIns="0" anchor="t">
            <a:noAutofit/>
          </a:bodyPr>
          <a:lstStyle/>
          <a:p>
            <a:pPr algn="r" rtl="0"/>
            <a:r>
              <a:rPr lang="da-DK" sz="1200">
                <a:solidFill>
                  <a:schemeClr val="bg1"/>
                </a:solidFill>
              </a:rPr>
              <a:t>NRGi.dk</a:t>
            </a:r>
            <a:endParaRPr lang="da-DK" sz="1200" dirty="0">
              <a:solidFill>
                <a:schemeClr val="bg1"/>
              </a:solidFill>
            </a:endParaRPr>
          </a:p>
        </p:txBody>
      </p:sp>
      <p:sp>
        <p:nvSpPr>
          <p:cNvPr id="21" name="Tekstfelt 20">
            <a:extLst>
              <a:ext uri="{FF2B5EF4-FFF2-40B4-BE49-F238E27FC236}">
                <a16:creationId xmlns:a16="http://schemas.microsoft.com/office/drawing/2014/main" id="{5A838974-69ED-4C19-A90E-05DBD42D201D}"/>
              </a:ext>
            </a:extLst>
          </p:cNvPr>
          <p:cNvSpPr txBox="1"/>
          <p:nvPr userDrawn="1"/>
        </p:nvSpPr>
        <p:spPr>
          <a:xfrm>
            <a:off x="9652758" y="5351482"/>
            <a:ext cx="1972786" cy="184666"/>
          </a:xfrm>
          <a:prstGeom prst="rect">
            <a:avLst/>
          </a:prstGeom>
          <a:noFill/>
        </p:spPr>
        <p:txBody>
          <a:bodyPr wrap="square" lIns="0" tIns="0" rIns="0" bIns="0" anchor="t">
            <a:noAutofit/>
          </a:bodyPr>
          <a:lstStyle/>
          <a:p>
            <a:pPr algn="r" rtl="0"/>
            <a:r>
              <a:rPr lang="da-DK" sz="1200">
                <a:solidFill>
                  <a:schemeClr val="bg1"/>
                </a:solidFill>
              </a:rPr>
              <a:t>Dusager 22</a:t>
            </a:r>
            <a:endParaRPr lang="da-DK" sz="1200" dirty="0">
              <a:solidFill>
                <a:schemeClr val="bg1"/>
              </a:solidFill>
            </a:endParaRPr>
          </a:p>
        </p:txBody>
      </p:sp>
      <p:sp>
        <p:nvSpPr>
          <p:cNvPr id="22" name="Pladsholder til tekst 9">
            <a:extLst>
              <a:ext uri="{FF2B5EF4-FFF2-40B4-BE49-F238E27FC236}">
                <a16:creationId xmlns:a16="http://schemas.microsoft.com/office/drawing/2014/main" id="{A956F20C-AA17-48A2-83B5-1B535A976945}"/>
              </a:ext>
            </a:extLst>
          </p:cNvPr>
          <p:cNvSpPr>
            <a:spLocks noGrp="1"/>
          </p:cNvSpPr>
          <p:nvPr>
            <p:ph type="body" sz="quarter" idx="17" hasCustomPrompt="1"/>
          </p:nvPr>
        </p:nvSpPr>
        <p:spPr>
          <a:xfrm>
            <a:off x="9798121" y="5923947"/>
            <a:ext cx="1827423"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email (xxxx@nrgi.dk</a:t>
            </a:r>
            <a:r>
              <a:rPr lang="da-DK" sz="1200">
                <a:solidFill>
                  <a:schemeClr val="bg1"/>
                </a:solidFill>
              </a:rPr>
              <a:t>)</a:t>
            </a:r>
            <a:endParaRPr lang="da-DK" dirty="0"/>
          </a:p>
        </p:txBody>
      </p:sp>
      <p:sp>
        <p:nvSpPr>
          <p:cNvPr id="37" name="Pladsholder til slidenummer 36">
            <a:extLst>
              <a:ext uri="{FF2B5EF4-FFF2-40B4-BE49-F238E27FC236}">
                <a16:creationId xmlns:a16="http://schemas.microsoft.com/office/drawing/2014/main" id="{DBA9BEEB-9A9C-4E0D-B111-7218E5CD52D1}"/>
              </a:ext>
            </a:extLst>
          </p:cNvPr>
          <p:cNvSpPr>
            <a:spLocks noGrp="1"/>
          </p:cNvSpPr>
          <p:nvPr>
            <p:ph type="sldNum" sz="quarter" idx="20"/>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7" name="Pladsholder til tekst 9">
            <a:extLst>
              <a:ext uri="{FF2B5EF4-FFF2-40B4-BE49-F238E27FC236}">
                <a16:creationId xmlns:a16="http://schemas.microsoft.com/office/drawing/2014/main" id="{11958930-3179-4A2E-8155-875EC59FE57F}"/>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4" name="Pladsholder til tekst 3">
            <a:extLst>
              <a:ext uri="{FF2B5EF4-FFF2-40B4-BE49-F238E27FC236}">
                <a16:creationId xmlns:a16="http://schemas.microsoft.com/office/drawing/2014/main" id="{87C095F8-A024-4A35-99AE-5042B63313B1}"/>
              </a:ext>
            </a:extLst>
          </p:cNvPr>
          <p:cNvSpPr>
            <a:spLocks noGrp="1"/>
          </p:cNvSpPr>
          <p:nvPr>
            <p:ph type="body" sz="quarter" idx="22"/>
          </p:nvPr>
        </p:nvSpPr>
        <p:spPr>
          <a:xfrm>
            <a:off x="334963" y="2541949"/>
            <a:ext cx="11522075" cy="1112951"/>
          </a:xfrm>
        </p:spPr>
        <p:txBody>
          <a:bodyPr anchor="b"/>
          <a:lstStyle>
            <a:lvl1pPr marL="0" indent="0" algn="ctr" rtl="0">
              <a:buNone/>
              <a:defRPr sz="6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endParaRPr lang="da-DK" dirty="0"/>
          </a:p>
        </p:txBody>
      </p:sp>
    </p:spTree>
    <p:extLst>
      <p:ext uri="{BB962C8B-B14F-4D97-AF65-F5344CB8AC3E}">
        <p14:creationId xmlns:p14="http://schemas.microsoft.com/office/powerpoint/2010/main" val="3945193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med grønt logo til lys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B33204-4D07-26B3-C91D-431E834A3215}"/>
              </a:ext>
            </a:extLst>
          </p:cNvPr>
          <p:cNvGraphicFramePr>
            <a:graphicFrameLocks noChangeAspect="1"/>
          </p:cNvGraphicFramePr>
          <p:nvPr userDrawn="1">
            <p:custDataLst>
              <p:tags r:id="rId1"/>
            </p:custDataLst>
            <p:extLst>
              <p:ext uri="{D42A27DB-BD31-4B8C-83A1-F6EECF244321}">
                <p14:modId xmlns:p14="http://schemas.microsoft.com/office/powerpoint/2010/main" val="398187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13B33204-4D07-26B3-C91D-431E834A32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accent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15" name="TextBox 8">
            <a:extLst>
              <a:ext uri="{FF2B5EF4-FFF2-40B4-BE49-F238E27FC236}">
                <a16:creationId xmlns:a16="http://schemas.microsoft.com/office/drawing/2014/main" id="{D3B39772-6EF8-414F-B8CA-9572DA8DE679}"/>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6" name="Slide Number Placeholder 5"/>
          <p:cNvSpPr>
            <a:spLocks noGrp="1"/>
          </p:cNvSpPr>
          <p:nvPr>
            <p:ph type="sldNum" sz="quarter" idx="12"/>
          </p:nvPr>
        </p:nvSpPr>
        <p:spPr/>
        <p:txBody>
          <a:bodyPr/>
          <a:lstStyle>
            <a:lvl1pPr rtl="0">
              <a:defRPr>
                <a:solidFill>
                  <a:schemeClr val="accent1"/>
                </a:solidFill>
              </a:defRPr>
            </a:lvl1pPr>
          </a:lstStyle>
          <a:p>
            <a:fld id="{4803DD7B-12C8-43B8-9F45-989336E79744}" type="slidenum">
              <a:rPr lang="da-DK" smtClean="0"/>
              <a:pPr/>
              <a:t>‹nr.›</a:t>
            </a:fld>
            <a:endParaRPr lang="da-DK" dirty="0"/>
          </a:p>
        </p:txBody>
      </p:sp>
      <p:sp>
        <p:nvSpPr>
          <p:cNvPr id="11" name="Pladsholder til tekst 9">
            <a:extLst>
              <a:ext uri="{FF2B5EF4-FFF2-40B4-BE49-F238E27FC236}">
                <a16:creationId xmlns:a16="http://schemas.microsoft.com/office/drawing/2014/main" id="{64FB9D14-6354-4776-99DE-6F2AC7FCCC10}"/>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2903942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 med fuldt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E13597B-E899-28DA-2685-B261BE4EC78C}"/>
              </a:ext>
            </a:extLst>
          </p:cNvPr>
          <p:cNvGraphicFramePr>
            <a:graphicFrameLocks noChangeAspect="1"/>
          </p:cNvGraphicFramePr>
          <p:nvPr userDrawn="1">
            <p:custDataLst>
              <p:tags r:id="rId1"/>
            </p:custDataLst>
            <p:extLst>
              <p:ext uri="{D42A27DB-BD31-4B8C-83A1-F6EECF244321}">
                <p14:modId xmlns:p14="http://schemas.microsoft.com/office/powerpoint/2010/main" val="235277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E13597B-E899-28DA-2685-B261BE4EC7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TextBox 8">
            <a:extLst>
              <a:ext uri="{FF2B5EF4-FFF2-40B4-BE49-F238E27FC236}">
                <a16:creationId xmlns:a16="http://schemas.microsoft.com/office/drawing/2014/main" id="{3E26791D-912A-4A89-B575-16A619848A0E}"/>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bg1"/>
                </a:solidFill>
              </a:defRPr>
            </a:lvl1pPr>
          </a:lstStyle>
          <a:p>
            <a:r>
              <a:rPr lang="da-DK" noProof="0"/>
              <a:t>Breaker – klik for at redigere titeltypografien i masteren</a:t>
            </a:r>
            <a:endParaRPr lang="da-DK" noProof="0" dirty="0"/>
          </a:p>
        </p:txBody>
      </p:sp>
      <p:sp>
        <p:nvSpPr>
          <p:cNvPr id="10" name="Pladsholder til tekst 9">
            <a:extLst>
              <a:ext uri="{FF2B5EF4-FFF2-40B4-BE49-F238E27FC236}">
                <a16:creationId xmlns:a16="http://schemas.microsoft.com/office/drawing/2014/main" id="{4E5F478B-2AF2-4DD2-BB59-38960637209E}"/>
              </a:ext>
            </a:extLst>
          </p:cNvPr>
          <p:cNvSpPr>
            <a:spLocks noGrp="1"/>
          </p:cNvSpPr>
          <p:nvPr>
            <p:ph type="body" sz="quarter" idx="16" hasCustomPrompt="1"/>
          </p:nvPr>
        </p:nvSpPr>
        <p:spPr>
          <a:xfrm>
            <a:off x="0"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3777408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med farve">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19A314B-22AD-EFCE-EA25-5C90DBDE93F0}"/>
              </a:ext>
            </a:extLst>
          </p:cNvPr>
          <p:cNvGraphicFramePr>
            <a:graphicFrameLocks noChangeAspect="1"/>
          </p:cNvGraphicFramePr>
          <p:nvPr userDrawn="1">
            <p:custDataLst>
              <p:tags r:id="rId1"/>
            </p:custDataLst>
            <p:extLst>
              <p:ext uri="{D42A27DB-BD31-4B8C-83A1-F6EECF244321}">
                <p14:modId xmlns:p14="http://schemas.microsoft.com/office/powerpoint/2010/main" val="335095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19A314B-22AD-EFCE-EA25-5C90DBDE93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accent2"/>
                </a:solidFill>
              </a:defRPr>
            </a:lvl1pPr>
          </a:lstStyle>
          <a:p>
            <a:r>
              <a:rPr lang="da-DK" noProof="0"/>
              <a:t>Breaker – klik for at redigere 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32" name="TextBox 8">
            <a:extLst>
              <a:ext uri="{FF2B5EF4-FFF2-40B4-BE49-F238E27FC236}">
                <a16:creationId xmlns:a16="http://schemas.microsoft.com/office/drawing/2014/main" id="{A3BB2A3B-E5DD-409B-948F-9E8E9C0DE4C3}"/>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33" name="Billede 32">
            <a:extLst>
              <a:ext uri="{FF2B5EF4-FFF2-40B4-BE49-F238E27FC236}">
                <a16:creationId xmlns:a16="http://schemas.microsoft.com/office/drawing/2014/main" id="{199B2DD0-AF0F-450E-8BC2-669B53CE4D12}"/>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34" name="TextBox 8">
            <a:extLst>
              <a:ext uri="{FF2B5EF4-FFF2-40B4-BE49-F238E27FC236}">
                <a16:creationId xmlns:a16="http://schemas.microsoft.com/office/drawing/2014/main" id="{D8329A9B-7465-4D18-8C10-A6F4DC3954EC}"/>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35" name="Billede 34">
            <a:extLst>
              <a:ext uri="{FF2B5EF4-FFF2-40B4-BE49-F238E27FC236}">
                <a16:creationId xmlns:a16="http://schemas.microsoft.com/office/drawing/2014/main" id="{6D1350DD-259B-45C3-B163-F3CA3EC73685}"/>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36" name="Billede 35">
            <a:extLst>
              <a:ext uri="{FF2B5EF4-FFF2-40B4-BE49-F238E27FC236}">
                <a16:creationId xmlns:a16="http://schemas.microsoft.com/office/drawing/2014/main" id="{BD7F83F9-AECA-46E1-AEE8-CF54361FD732}"/>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2" name="Pladsholder til tekst 9">
            <a:extLst>
              <a:ext uri="{FF2B5EF4-FFF2-40B4-BE49-F238E27FC236}">
                <a16:creationId xmlns:a16="http://schemas.microsoft.com/office/drawing/2014/main" id="{7D216729-A8D1-4335-BE16-89F4384AC488}"/>
              </a:ext>
            </a:extLst>
          </p:cNvPr>
          <p:cNvSpPr>
            <a:spLocks noGrp="1"/>
          </p:cNvSpPr>
          <p:nvPr>
            <p:ph type="body" sz="quarter" idx="17"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80347919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39A8324-4EAB-D001-BF91-8F238CF8521C}"/>
              </a:ext>
            </a:extLst>
          </p:cNvPr>
          <p:cNvGraphicFramePr>
            <a:graphicFrameLocks noChangeAspect="1"/>
          </p:cNvGraphicFramePr>
          <p:nvPr userDrawn="1">
            <p:custDataLst>
              <p:tags r:id="rId1"/>
            </p:custDataLst>
            <p:extLst>
              <p:ext uri="{D42A27DB-BD31-4B8C-83A1-F6EECF244321}">
                <p14:modId xmlns:p14="http://schemas.microsoft.com/office/powerpoint/2010/main" val="160837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39A8324-4EAB-D001-BF91-8F238CF852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2C1918C-9363-4876-BE81-A1CD339A2D47}"/>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1F8DDE5-E09E-4851-80C7-9117A55BBA61}"/>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529B0911-F7F1-4774-A696-6B9D2735D4E2}"/>
              </a:ext>
            </a:extLst>
          </p:cNvPr>
          <p:cNvSpPr>
            <a:spLocks noGrp="1"/>
          </p:cNvSpPr>
          <p:nvPr>
            <p:ph type="body" sz="quarter" idx="14"/>
          </p:nvPr>
        </p:nvSpPr>
        <p:spPr>
          <a:xfrm>
            <a:off x="982663"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1">
            <a:extLst>
              <a:ext uri="{FF2B5EF4-FFF2-40B4-BE49-F238E27FC236}">
                <a16:creationId xmlns:a16="http://schemas.microsoft.com/office/drawing/2014/main" id="{EAB1C4A3-F47C-4231-AAC2-76E60133E4E9}"/>
              </a:ext>
            </a:extLst>
          </p:cNvPr>
          <p:cNvSpPr>
            <a:spLocks noGrp="1"/>
          </p:cNvSpPr>
          <p:nvPr>
            <p:ph type="body" sz="quarter" idx="15"/>
          </p:nvPr>
        </p:nvSpPr>
        <p:spPr>
          <a:xfrm>
            <a:off x="6265865"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18">
            <a:extLst>
              <a:ext uri="{FF2B5EF4-FFF2-40B4-BE49-F238E27FC236}">
                <a16:creationId xmlns:a16="http://schemas.microsoft.com/office/drawing/2014/main" id="{93B756E9-F541-497F-92B6-1332822426C2}"/>
              </a:ext>
            </a:extLst>
          </p:cNvPr>
          <p:cNvSpPr>
            <a:spLocks noGrp="1"/>
          </p:cNvSpPr>
          <p:nvPr>
            <p:ph type="body" sz="quarter" idx="16" hasCustomPrompt="1"/>
          </p:nvPr>
        </p:nvSpPr>
        <p:spPr>
          <a:xfrm>
            <a:off x="5911214"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
        <p:nvSpPr>
          <p:cNvPr id="20" name="Pladsholder til tekst 18">
            <a:extLst>
              <a:ext uri="{FF2B5EF4-FFF2-40B4-BE49-F238E27FC236}">
                <a16:creationId xmlns:a16="http://schemas.microsoft.com/office/drawing/2014/main" id="{526EFD36-E395-47FA-A4C9-907A4C94848A}"/>
              </a:ext>
            </a:extLst>
          </p:cNvPr>
          <p:cNvSpPr>
            <a:spLocks noGrp="1"/>
          </p:cNvSpPr>
          <p:nvPr>
            <p:ph type="body" sz="quarter" idx="17" hasCustomPrompt="1"/>
          </p:nvPr>
        </p:nvSpPr>
        <p:spPr>
          <a:xfrm>
            <a:off x="11194415"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Tree>
    <p:extLst>
      <p:ext uri="{BB962C8B-B14F-4D97-AF65-F5344CB8AC3E}">
        <p14:creationId xmlns:p14="http://schemas.microsoft.com/office/powerpoint/2010/main" val="1501344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og indhold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8E3A7EA-62A4-417F-AC41-59F565D68C59}"/>
              </a:ext>
            </a:extLst>
          </p:cNvPr>
          <p:cNvGraphicFramePr>
            <a:graphicFrameLocks noChangeAspect="1"/>
          </p:cNvGraphicFramePr>
          <p:nvPr userDrawn="1">
            <p:custDataLst>
              <p:tags r:id="rId1"/>
            </p:custDataLst>
            <p:extLst>
              <p:ext uri="{D42A27DB-BD31-4B8C-83A1-F6EECF244321}">
                <p14:modId xmlns:p14="http://schemas.microsoft.com/office/powerpoint/2010/main" val="28157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8E3A7EA-62A4-417F-AC41-59F565D68C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solidFill>
                  <a:schemeClr val="tx1"/>
                </a:solidFill>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13561"/>
            <a:ext cx="7958137" cy="4352290"/>
          </a:xfrm>
        </p:spPr>
        <p:txBody>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TextBox 8">
            <a:extLst>
              <a:ext uri="{FF2B5EF4-FFF2-40B4-BE49-F238E27FC236}">
                <a16:creationId xmlns:a16="http://schemas.microsoft.com/office/drawing/2014/main" id="{CDB01046-B639-4C51-B121-93BF127467C5}"/>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11" name="Billede 10">
            <a:extLst>
              <a:ext uri="{FF2B5EF4-FFF2-40B4-BE49-F238E27FC236}">
                <a16:creationId xmlns:a16="http://schemas.microsoft.com/office/drawing/2014/main" id="{86FC607F-A981-4CD2-B468-1AD8A2923433}"/>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12" name="TextBox 8">
            <a:extLst>
              <a:ext uri="{FF2B5EF4-FFF2-40B4-BE49-F238E27FC236}">
                <a16:creationId xmlns:a16="http://schemas.microsoft.com/office/drawing/2014/main" id="{0941A88B-2C47-4D26-B718-CF388930B536}"/>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13" name="Billede 12">
            <a:extLst>
              <a:ext uri="{FF2B5EF4-FFF2-40B4-BE49-F238E27FC236}">
                <a16:creationId xmlns:a16="http://schemas.microsoft.com/office/drawing/2014/main" id="{7CEBFC1D-C250-413D-8E83-9AA4AD28DBA6}"/>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14" name="Billede 13">
            <a:extLst>
              <a:ext uri="{FF2B5EF4-FFF2-40B4-BE49-F238E27FC236}">
                <a16:creationId xmlns:a16="http://schemas.microsoft.com/office/drawing/2014/main" id="{9AA83616-686F-4BA2-9DEF-C78B9BF290D3}"/>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7" name="Pladsholder til slidenummer 16">
            <a:extLst>
              <a:ext uri="{FF2B5EF4-FFF2-40B4-BE49-F238E27FC236}">
                <a16:creationId xmlns:a16="http://schemas.microsoft.com/office/drawing/2014/main" id="{0496EE00-B7B1-4FBC-AE5D-1ED4C224E899}"/>
              </a:ext>
            </a:extLst>
          </p:cNvPr>
          <p:cNvSpPr>
            <a:spLocks noGrp="1"/>
          </p:cNvSpPr>
          <p:nvPr>
            <p:ph type="sldNum" sz="quarter" idx="19"/>
          </p:nvPr>
        </p:nvSpPr>
        <p:spPr/>
        <p:txBody>
          <a:bodyPr/>
          <a:lstStyle>
            <a:lvl1pPr rtl="0">
              <a:defRPr>
                <a:solidFill>
                  <a:schemeClr val="tx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5C039EB7-1A5B-4652-B373-381F14A78A78}"/>
              </a:ext>
            </a:extLst>
          </p:cNvPr>
          <p:cNvSpPr>
            <a:spLocks noGrp="1"/>
          </p:cNvSpPr>
          <p:nvPr>
            <p:ph type="body" sz="quarter" idx="20"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3488991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7D2480-7036-710B-1778-3F9B8F54412B}"/>
              </a:ext>
            </a:extLst>
          </p:cNvPr>
          <p:cNvGraphicFramePr>
            <a:graphicFrameLocks noChangeAspect="1"/>
          </p:cNvGraphicFramePr>
          <p:nvPr userDrawn="1">
            <p:custDataLst>
              <p:tags r:id="rId1"/>
            </p:custDataLst>
            <p:extLst>
              <p:ext uri="{D42A27DB-BD31-4B8C-83A1-F6EECF244321}">
                <p14:modId xmlns:p14="http://schemas.microsoft.com/office/powerpoint/2010/main" val="316976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1B7D2480-7036-710B-1778-3F9B8F544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08163"/>
            <a:ext cx="7958137" cy="4357688"/>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ladsholder til slidenummer 9">
            <a:extLst>
              <a:ext uri="{FF2B5EF4-FFF2-40B4-BE49-F238E27FC236}">
                <a16:creationId xmlns:a16="http://schemas.microsoft.com/office/drawing/2014/main" id="{CD368082-6B4C-4E17-B467-EDE690A0632A}"/>
              </a:ext>
            </a:extLst>
          </p:cNvPr>
          <p:cNvSpPr>
            <a:spLocks noGrp="1"/>
          </p:cNvSpPr>
          <p:nvPr>
            <p:ph type="sldNum" sz="quarter" idx="16"/>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1576694700"/>
      </p:ext>
    </p:extLst>
  </p:cSld>
  <p:clrMapOvr>
    <a:masterClrMapping/>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og indhold med lille margi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4E94A3-94F7-4876-BD09-C61C8FBD6718}"/>
              </a:ext>
            </a:extLst>
          </p:cNvPr>
          <p:cNvGraphicFramePr>
            <a:graphicFrameLocks noChangeAspect="1"/>
          </p:cNvGraphicFramePr>
          <p:nvPr userDrawn="1">
            <p:custDataLst>
              <p:tags r:id="rId1"/>
            </p:custDataLst>
            <p:extLst>
              <p:ext uri="{D42A27DB-BD31-4B8C-83A1-F6EECF244321}">
                <p14:modId xmlns:p14="http://schemas.microsoft.com/office/powerpoint/2010/main" val="151521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44E94A3-94F7-4876-BD09-C61C8FBD6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DABB80B-B68E-403D-8533-538037F78BC9}"/>
              </a:ext>
            </a:extLst>
          </p:cNvPr>
          <p:cNvSpPr>
            <a:spLocks noGrp="1"/>
          </p:cNvSpPr>
          <p:nvPr>
            <p:ph type="title"/>
          </p:nvPr>
        </p:nvSpPr>
        <p:spPr>
          <a:xfrm>
            <a:off x="982663" y="229827"/>
            <a:ext cx="10874375" cy="633379"/>
          </a:xfrm>
        </p:spPr>
        <p:txBody>
          <a:bodyPr vert="horz" anchor="t">
            <a:noAutofit/>
          </a:bodyPr>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79AA1BE-5B22-4EEB-81F8-ABE92B61A72F}"/>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9" name="Pladsholder til indhold 8">
            <a:extLst>
              <a:ext uri="{FF2B5EF4-FFF2-40B4-BE49-F238E27FC236}">
                <a16:creationId xmlns:a16="http://schemas.microsoft.com/office/drawing/2014/main" id="{AE3E6A7E-4961-403F-A8EA-EB08707ECA2C}"/>
              </a:ext>
            </a:extLst>
          </p:cNvPr>
          <p:cNvSpPr>
            <a:spLocks noGrp="1"/>
          </p:cNvSpPr>
          <p:nvPr>
            <p:ph sz="quarter" idx="13"/>
          </p:nvPr>
        </p:nvSpPr>
        <p:spPr>
          <a:xfrm>
            <a:off x="982663" y="1088631"/>
            <a:ext cx="10874375" cy="5077220"/>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650753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DE25FA5-E514-CFB8-9A3C-3E423FEA643B}"/>
              </a:ext>
            </a:extLst>
          </p:cNvPr>
          <p:cNvGraphicFramePr>
            <a:graphicFrameLocks noChangeAspect="1"/>
          </p:cNvGraphicFramePr>
          <p:nvPr userDrawn="1">
            <p:custDataLst>
              <p:tags r:id="rId25"/>
            </p:custDataLst>
            <p:extLst>
              <p:ext uri="{D42A27DB-BD31-4B8C-83A1-F6EECF244321}">
                <p14:modId xmlns:p14="http://schemas.microsoft.com/office/powerpoint/2010/main" val="230379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5" name="Objekt 4" hidden="1">
                        <a:extLst>
                          <a:ext uri="{FF2B5EF4-FFF2-40B4-BE49-F238E27FC236}">
                            <a16:creationId xmlns:a16="http://schemas.microsoft.com/office/drawing/2014/main" id="{DDE25FA5-E514-CFB8-9A3C-3E423FEA643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82663" y="243409"/>
            <a:ext cx="10874375" cy="1292496"/>
          </a:xfrm>
          <a:prstGeom prst="rect">
            <a:avLst/>
          </a:prstGeom>
        </p:spPr>
        <p:txBody>
          <a:bodyPr vert="horz" lIns="0" tIns="0" rIns="0" bIns="0" rtlCol="0" anchor="b">
            <a:noAutofit/>
          </a:bodyPr>
          <a:lstStyle/>
          <a:p>
            <a:r>
              <a:rPr lang="da-DK" noProof="0"/>
              <a:t>Klik for at redigere titeltypografien i masteren</a:t>
            </a:r>
            <a:endParaRPr lang="da-DK" noProof="0" dirty="0"/>
          </a:p>
        </p:txBody>
      </p:sp>
      <p:sp>
        <p:nvSpPr>
          <p:cNvPr id="3" name="Text Placeholder 2"/>
          <p:cNvSpPr>
            <a:spLocks noGrp="1"/>
          </p:cNvSpPr>
          <p:nvPr>
            <p:ph type="body" idx="1"/>
          </p:nvPr>
        </p:nvSpPr>
        <p:spPr>
          <a:xfrm>
            <a:off x="982663" y="1813561"/>
            <a:ext cx="10874375" cy="435229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6" name="Slide Number Placeholder 5"/>
          <p:cNvSpPr>
            <a:spLocks noGrp="1"/>
          </p:cNvSpPr>
          <p:nvPr>
            <p:ph type="sldNum" sz="quarter" idx="4"/>
          </p:nvPr>
        </p:nvSpPr>
        <p:spPr>
          <a:xfrm>
            <a:off x="11457940" y="6443507"/>
            <a:ext cx="399097" cy="184666"/>
          </a:xfrm>
          <a:prstGeom prst="rect">
            <a:avLst/>
          </a:prstGeom>
        </p:spPr>
        <p:txBody>
          <a:bodyPr vert="horz" wrap="square" lIns="0" tIns="0" rIns="0" bIns="0" rtlCol="0" anchor="ctr">
            <a:spAutoFit/>
          </a:bodyPr>
          <a:lstStyle>
            <a:lvl1pPr algn="r" rtl="0">
              <a:defRPr sz="1200">
                <a:solidFill>
                  <a:schemeClr val="accent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41CBECE6-4121-4040-93C2-1D43AFE5C05D}"/>
              </a:ext>
            </a:extLst>
          </p:cNvPr>
          <p:cNvSpPr txBox="1">
            <a:spLocks/>
          </p:cNvSpPr>
          <p:nvPr userDrawn="1"/>
        </p:nvSpPr>
        <p:spPr>
          <a:xfrm>
            <a:off x="-1905" y="6308725"/>
            <a:ext cx="1965316" cy="314508"/>
          </a:xfrm>
          <a:prstGeom prst="rect">
            <a:avLst/>
          </a:prstGeom>
          <a:blipFill dpi="0"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a:fillRect/>
            </a:stretch>
          </a:blipFill>
        </p:spPr>
        <p:txBody>
          <a:bodyPr/>
          <a:lstStyle>
            <a:lvl1pPr marL="0" indent="0" algn="l" defTabSz="914400" rtl="0" eaLnBrk="1" latinLnBrk="0" hangingPunct="1">
              <a:lnSpc>
                <a:spcPct val="90000"/>
              </a:lnSpc>
              <a:spcBef>
                <a:spcPts val="600"/>
              </a:spcBef>
              <a:buFont typeface="Arial" pitchFamily="34" charset="0"/>
              <a:buNone/>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da-DK"/>
              <a:t> </a:t>
            </a:r>
            <a:endParaRPr lang="da-DK" dirty="0"/>
          </a:p>
        </p:txBody>
      </p:sp>
    </p:spTree>
    <p:extLst>
      <p:ext uri="{BB962C8B-B14F-4D97-AF65-F5344CB8AC3E}">
        <p14:creationId xmlns:p14="http://schemas.microsoft.com/office/powerpoint/2010/main" val="408341288"/>
      </p:ext>
    </p:extLst>
  </p:cSld>
  <p:clrMap bg1="lt1" tx1="dk1" bg2="lt2" tx2="dk2" accent1="accent1" accent2="accent2" accent3="accent3" accent4="accent4" accent5="accent5" accent6="accent6" hlink="hlink" folHlink="folHlink"/>
  <p:sldLayoutIdLst>
    <p:sldLayoutId id="2147483672" r:id="rId1"/>
    <p:sldLayoutId id="2147483663" r:id="rId2"/>
    <p:sldLayoutId id="2147483673" r:id="rId3"/>
    <p:sldLayoutId id="2147483675" r:id="rId4"/>
    <p:sldLayoutId id="2147483676" r:id="rId5"/>
    <p:sldLayoutId id="2147483691" r:id="rId6"/>
    <p:sldLayoutId id="2147483677" r:id="rId7"/>
    <p:sldLayoutId id="2147483650" r:id="rId8"/>
    <p:sldLayoutId id="2147483692" r:id="rId9"/>
    <p:sldLayoutId id="2147483681" r:id="rId10"/>
    <p:sldLayoutId id="2147483682" r:id="rId11"/>
    <p:sldLayoutId id="2147483683" r:id="rId12"/>
    <p:sldLayoutId id="2147483684" r:id="rId13"/>
    <p:sldLayoutId id="2147483685" r:id="rId14"/>
    <p:sldLayoutId id="2147483686" r:id="rId15"/>
    <p:sldLayoutId id="2147483661" r:id="rId16"/>
    <p:sldLayoutId id="2147483687" r:id="rId17"/>
    <p:sldLayoutId id="2147483688" r:id="rId18"/>
    <p:sldLayoutId id="2147483678" r:id="rId19"/>
    <p:sldLayoutId id="2147483679" r:id="rId20"/>
    <p:sldLayoutId id="2147483654" r:id="rId21"/>
    <p:sldLayoutId id="2147483655" r:id="rId22"/>
    <p:sldLayoutId id="2147483680" r:id="rId23"/>
  </p:sldLayoutIdLst>
  <p:hf sldNum="0" hdr="0" dt="0"/>
  <p:txStyles>
    <p:title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69" userDrawn="1">
          <p15:clr>
            <a:srgbClr val="F26B43"/>
          </p15:clr>
        </p15:guide>
        <p15:guide id="2" orient="horz" pos="970" userDrawn="1">
          <p15:clr>
            <a:srgbClr val="F26B43"/>
          </p15:clr>
        </p15:guide>
        <p15:guide id="3" orient="horz" pos="3884" userDrawn="1">
          <p15:clr>
            <a:srgbClr val="F26B43"/>
          </p15:clr>
        </p15:guide>
        <p15:guide id="5" orient="horz" pos="142" userDrawn="1">
          <p15:clr>
            <a:srgbClr val="F26B43"/>
          </p15:clr>
        </p15:guide>
        <p15:guide id="6" pos="619" userDrawn="1">
          <p15:clr>
            <a:srgbClr val="F26B43"/>
          </p15:clr>
        </p15:guide>
        <p15:guide id="7" orient="horz" pos="1139" userDrawn="1">
          <p15:clr>
            <a:srgbClr val="F26B43"/>
          </p15:clr>
        </p15:guide>
        <p15:guide id="8" pos="70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7.bin"/><Relationship Id="rId10" Type="http://schemas.openxmlformats.org/officeDocument/2006/relationships/image" Target="../media/image16.svg"/><Relationship Id="rId4" Type="http://schemas.openxmlformats.org/officeDocument/2006/relationships/notesSlide" Target="../notesSlides/notesSlide14.xml"/><Relationship Id="rId9"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4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file:///C:\Users\tobr\OneDrive%20-%20NRGi%20A%20S\Projekter\ProjectBasedInternship\Data\Results\Presentation\1_8_dst_data.svg" TargetMode="External"/><Relationship Id="rId2" Type="http://schemas.openxmlformats.org/officeDocument/2006/relationships/slideLayout" Target="../slideLayouts/slideLayout9.xml"/><Relationship Id="rId1" Type="http://schemas.openxmlformats.org/officeDocument/2006/relationships/tags" Target="../tags/tag42.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43.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26.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9.svg"/><Relationship Id="rId2" Type="http://schemas.openxmlformats.org/officeDocument/2006/relationships/slideLayout" Target="../slideLayouts/slideLayout9.xml"/><Relationship Id="rId1" Type="http://schemas.openxmlformats.org/officeDocument/2006/relationships/tags" Target="../tags/tag45.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1.svg"/><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23.svg"/><Relationship Id="rId2"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25.svg"/><Relationship Id="rId2" Type="http://schemas.openxmlformats.org/officeDocument/2006/relationships/slideLayout" Target="../slideLayouts/slideLayout9.xml"/><Relationship Id="rId1" Type="http://schemas.openxmlformats.org/officeDocument/2006/relationships/tags" Target="../tags/tag48.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4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9.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3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C5B1A34-4CF2-0504-3BE2-26A1E21AF65D}"/>
              </a:ext>
            </a:extLst>
          </p:cNvPr>
          <p:cNvGraphicFramePr>
            <a:graphicFrameLocks noChangeAspect="1"/>
          </p:cNvGraphicFramePr>
          <p:nvPr>
            <p:custDataLst>
              <p:tags r:id="rId1"/>
            </p:custDataLst>
            <p:extLst>
              <p:ext uri="{D42A27DB-BD31-4B8C-83A1-F6EECF244321}">
                <p14:modId xmlns:p14="http://schemas.microsoft.com/office/powerpoint/2010/main" val="11583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kt 1" hidden="1">
                        <a:extLst>
                          <a:ext uri="{FF2B5EF4-FFF2-40B4-BE49-F238E27FC236}">
                            <a16:creationId xmlns:a16="http://schemas.microsoft.com/office/drawing/2014/main" id="{3C5B1A34-4CF2-0504-3BE2-26A1E21AF6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ladsholder til billede 43">
            <a:extLst>
              <a:ext uri="{FF2B5EF4-FFF2-40B4-BE49-F238E27FC236}">
                <a16:creationId xmlns:a16="http://schemas.microsoft.com/office/drawing/2014/main" id="{300612C0-B09C-4184-9B47-184F0D0789C7}"/>
              </a:ext>
            </a:extLst>
          </p:cNvPr>
          <p:cNvPicPr>
            <a:picLocks noGrp="1" noChangeAspect="1"/>
          </p:cNvPicPr>
          <p:nvPr>
            <p:ph type="pic" sz="quarter" idx="13"/>
          </p:nvPr>
        </p:nvPicPr>
        <p:blipFill>
          <a:blip r:embed="rId6">
            <a:alphaModFix amt="20000"/>
          </a:blip>
          <a:srcRect t="7812" b="7812"/>
          <a:stretch/>
        </p:blipFill>
        <p:spPr>
          <a:xfrm>
            <a:off x="0" y="0"/>
            <a:ext cx="12192000" cy="6858000"/>
          </a:xfrm>
        </p:spPr>
      </p:pic>
      <p:sp>
        <p:nvSpPr>
          <p:cNvPr id="54" name="Titel 53">
            <a:extLst>
              <a:ext uri="{FF2B5EF4-FFF2-40B4-BE49-F238E27FC236}">
                <a16:creationId xmlns:a16="http://schemas.microsoft.com/office/drawing/2014/main" id="{80FB860F-3E3A-43EB-B273-14B2246A3D66}"/>
              </a:ext>
            </a:extLst>
          </p:cNvPr>
          <p:cNvSpPr>
            <a:spLocks noGrp="1"/>
          </p:cNvSpPr>
          <p:nvPr>
            <p:ph type="ctrTitle"/>
          </p:nvPr>
        </p:nvSpPr>
        <p:spPr>
          <a:xfrm>
            <a:off x="982663" y="2926385"/>
            <a:ext cx="7085012" cy="1661993"/>
          </a:xfrm>
        </p:spPr>
        <p:txBody>
          <a:bodyPr vert="horz" anchor="t"/>
          <a:lstStyle/>
          <a:p>
            <a:r>
              <a:rPr lang="da-DK" dirty="0"/>
              <a:t>Risikovurdering af entrepriseprojekter</a:t>
            </a:r>
          </a:p>
        </p:txBody>
      </p:sp>
      <p:sp>
        <p:nvSpPr>
          <p:cNvPr id="7" name="Subtitle 6">
            <a:extLst>
              <a:ext uri="{FF2B5EF4-FFF2-40B4-BE49-F238E27FC236}">
                <a16:creationId xmlns:a16="http://schemas.microsoft.com/office/drawing/2014/main" id="{0B924460-1A6C-4030-8DE0-387B74186E08}"/>
              </a:ext>
            </a:extLst>
          </p:cNvPr>
          <p:cNvSpPr>
            <a:spLocks noGrp="1"/>
          </p:cNvSpPr>
          <p:nvPr>
            <p:ph type="subTitle" idx="1"/>
          </p:nvPr>
        </p:nvSpPr>
        <p:spPr>
          <a:xfrm>
            <a:off x="982663" y="4719353"/>
            <a:ext cx="6272716" cy="749955"/>
          </a:xfrm>
        </p:spPr>
        <p:txBody>
          <a:bodyPr/>
          <a:lstStyle/>
          <a:p>
            <a:r>
              <a:rPr lang="da-DK"/>
              <a:t>Projektbaseret praktikforløb | Efterår 2023</a:t>
            </a:r>
            <a:endParaRPr lang="da-DK" dirty="0"/>
          </a:p>
        </p:txBody>
      </p:sp>
      <p:sp>
        <p:nvSpPr>
          <p:cNvPr id="8" name="Text Placeholder 7">
            <a:extLst>
              <a:ext uri="{FF2B5EF4-FFF2-40B4-BE49-F238E27FC236}">
                <a16:creationId xmlns:a16="http://schemas.microsoft.com/office/drawing/2014/main" id="{08D4D0AD-0A75-4D15-8D92-457BD4B8F7BE}"/>
              </a:ext>
            </a:extLst>
          </p:cNvPr>
          <p:cNvSpPr>
            <a:spLocks noGrp="1"/>
          </p:cNvSpPr>
          <p:nvPr>
            <p:ph type="body" sz="quarter" idx="15"/>
          </p:nvPr>
        </p:nvSpPr>
        <p:spPr/>
        <p:txBody>
          <a:bodyPr/>
          <a:lstStyle/>
          <a:p>
            <a:endParaRPr lang="da-DK" dirty="0"/>
          </a:p>
        </p:txBody>
      </p:sp>
    </p:spTree>
    <p:extLst>
      <p:ext uri="{BB962C8B-B14F-4D97-AF65-F5344CB8AC3E}">
        <p14:creationId xmlns:p14="http://schemas.microsoft.com/office/powerpoint/2010/main" val="1982481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r>
              <a:rPr lang="da-DK" b="1" dirty="0"/>
              <a:t>Principal Component Analysis (PCA):</a:t>
            </a:r>
            <a:r>
              <a:rPr lang="da-DK" dirty="0"/>
              <a:t>  En </a:t>
            </a:r>
            <a:r>
              <a:rPr lang="da-DK" dirty="0" err="1"/>
              <a:t>dimensionreduktionsteknik</a:t>
            </a:r>
            <a:r>
              <a:rPr lang="da-DK" dirty="0"/>
              <a:t>, der bruges til at forenkle kompleksiteten i </a:t>
            </a:r>
            <a:r>
              <a:rPr lang="da-DK" dirty="0" err="1"/>
              <a:t>højdimensionelle</a:t>
            </a:r>
            <a:r>
              <a:rPr lang="da-DK" dirty="0"/>
              <a:t> datasæt.</a:t>
            </a:r>
          </a:p>
          <a:p>
            <a:pPr lvl="1"/>
            <a:r>
              <a:rPr lang="da-DK" dirty="0"/>
              <a:t>Teknikken finder de hovedkomponenterne, der fanger den største varians i datasættet, og projicerer dataene på disse nye akser. De resulterende fællestræk er de første egenværdier fra en singulær værdi dekomposition af datasættet</a:t>
            </a:r>
          </a:p>
          <a:p>
            <a:pPr lvl="1"/>
            <a:r>
              <a:rPr lang="da-DK" dirty="0"/>
              <a:t>Ved at fokusere på hovedkomponenterne kan man reducere antallet af variabler i en analyse uden at miste for meget information.</a:t>
            </a:r>
          </a:p>
          <a:p>
            <a:pPr lvl="1"/>
            <a:r>
              <a:rPr lang="da-DK" dirty="0"/>
              <a:t>Gør det muligt at visualisere komplekse datasæt og forstå de underliggende mønstre.</a:t>
            </a:r>
          </a:p>
          <a:p>
            <a:pPr marL="179025" lvl="1" indent="0">
              <a:buNone/>
            </a:pPr>
            <a:endParaRPr lang="da-DK" dirty="0"/>
          </a:p>
        </p:txBody>
      </p:sp>
    </p:spTree>
    <p:extLst>
      <p:ext uri="{BB962C8B-B14F-4D97-AF65-F5344CB8AC3E}">
        <p14:creationId xmlns:p14="http://schemas.microsoft.com/office/powerpoint/2010/main" val="2214565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48549432-49AA-50F6-E18A-166229001C22}"/>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3608097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5351462"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dirty="0"/>
              <a:t>Der indhentes data fra forskellige datakilder. Nogle er udelukkende tids-varierende, andre er projekt-varierende, og en del er både tids- og projektvarierende. </a:t>
            </a:r>
          </a:p>
          <a:p>
            <a:r>
              <a:rPr lang="da-DK" dirty="0"/>
              <a:t>Oplysninger fra sagskortet, eksempelvis varighed og beskrivelse, er projekt-varierende.</a:t>
            </a:r>
          </a:p>
          <a:p>
            <a:r>
              <a:rPr lang="da-DK" dirty="0"/>
              <a:t>Registreringer fra sagerne, eksempelvis bogførte omkostninger er tids- og projekt-varierende.</a:t>
            </a:r>
          </a:p>
          <a:p>
            <a:r>
              <a:rPr lang="da-DK" dirty="0"/>
              <a:t>Konstruerede s-kurver er tids- og projekt-varierende.</a:t>
            </a:r>
          </a:p>
          <a:p>
            <a:r>
              <a:rPr lang="da-DK" dirty="0"/>
              <a:t>Fraværsregistreringer i de enkelte afdelinger er tids-varierende.</a:t>
            </a:r>
          </a:p>
          <a:p>
            <a:r>
              <a:rPr lang="da-DK" dirty="0"/>
              <a:t>Forbrugertillid og varighed af ordrebeholdning fra DST er tids-varierende.</a:t>
            </a:r>
          </a:p>
          <a:p>
            <a:endParaRPr lang="da-DK" dirty="0"/>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Et billede, der indeholder diagram, linje/række, tekst, Kurve&#10;&#10;Automatisk genereret beskrivelse">
            <a:extLst>
              <a:ext uri="{FF2B5EF4-FFF2-40B4-BE49-F238E27FC236}">
                <a16:creationId xmlns:a16="http://schemas.microsoft.com/office/drawing/2014/main" id="{E15673A4-9DF1-0497-61E6-DB151E491FFE}"/>
              </a:ext>
            </a:extLst>
          </p:cNvPr>
          <p:cNvPicPr>
            <a:picLocks noChangeAspect="1"/>
          </p:cNvPicPr>
          <p:nvPr/>
        </p:nvPicPr>
        <p:blipFill>
          <a:blip r:embed="rId6"/>
          <a:stretch>
            <a:fillRect/>
          </a:stretch>
        </p:blipFill>
        <p:spPr>
          <a:xfrm>
            <a:off x="6583626" y="1266823"/>
            <a:ext cx="5608374" cy="4137007"/>
          </a:xfrm>
          <a:prstGeom prst="rect">
            <a:avLst/>
          </a:prstGeom>
        </p:spPr>
      </p:pic>
    </p:spTree>
    <p:extLst>
      <p:ext uri="{BB962C8B-B14F-4D97-AF65-F5344CB8AC3E}">
        <p14:creationId xmlns:p14="http://schemas.microsoft.com/office/powerpoint/2010/main" val="28445770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661848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10226676"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Det er relevant at udnytte den todimensionelle struktur i vores data. </a:t>
            </a:r>
          </a:p>
          <a:p>
            <a:r>
              <a:rPr lang="da-DK" sz="2000" dirty="0"/>
              <a:t>Tids-varierende mønstre </a:t>
            </a:r>
            <a:r>
              <a:rPr lang="da-DK" dirty="0"/>
              <a:t>kan udnyttes til at muliggøre forudsigelser frem i tid.</a:t>
            </a:r>
            <a:endParaRPr lang="da-DK" sz="2000" dirty="0"/>
          </a:p>
          <a:p>
            <a:pPr lvl="1"/>
            <a:r>
              <a:rPr lang="da-DK" dirty="0"/>
              <a:t>Disse mønstre Forudsigelserne bygger på en linearkombination af de observerede tendenser gennem tid.</a:t>
            </a:r>
          </a:p>
          <a:p>
            <a:pPr lvl="1"/>
            <a:r>
              <a:rPr lang="da-DK" dirty="0"/>
              <a:t>Modellerne benytter forskellige algoritmer til at konstruere linearkombinationer.</a:t>
            </a:r>
          </a:p>
          <a:p>
            <a:pPr lvl="2"/>
            <a:r>
              <a:rPr lang="da-DK" dirty="0"/>
              <a:t>Ensemble modeller laver linearkombinationer af de forskellige modellers respektive linearkombinationer.</a:t>
            </a:r>
          </a:p>
          <a:p>
            <a:pPr lvl="1"/>
            <a:r>
              <a:rPr lang="da-DK" dirty="0"/>
              <a:t>Modellerne antager at de observerede tendenser vil fortsætte i resten af projekternes løbetid.</a:t>
            </a:r>
          </a:p>
          <a:p>
            <a:r>
              <a:rPr lang="da-DK" dirty="0"/>
              <a:t>P</a:t>
            </a:r>
            <a:r>
              <a:rPr lang="da-DK" sz="2000" dirty="0"/>
              <a:t>rojekt-varierende mønstre kan bruges til at differentiere mellem strukturelle forhold.</a:t>
            </a:r>
          </a:p>
          <a:p>
            <a:pPr lvl="1"/>
            <a:r>
              <a:rPr lang="da-DK" dirty="0"/>
              <a:t>Modellerne kan være i stand til at differentiere mellem projekter, og tildele forskellige vægte i de resulterende linearkombinationer.</a:t>
            </a:r>
          </a:p>
          <a:p>
            <a:pPr lvl="1"/>
            <a:r>
              <a:rPr lang="da-DK" dirty="0"/>
              <a:t>Modellerne antager at de observerede forskelle i eks. split mellem </a:t>
            </a:r>
            <a:r>
              <a:rPr lang="da-DK" dirty="0" err="1"/>
              <a:t>vareforbrug</a:t>
            </a:r>
            <a:r>
              <a:rPr lang="da-DK" dirty="0"/>
              <a:t> og lønforbrug stammer fra strukturelle forskelle.</a:t>
            </a:r>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spTree>
    <p:extLst>
      <p:ext uri="{BB962C8B-B14F-4D97-AF65-F5344CB8AC3E}">
        <p14:creationId xmlns:p14="http://schemas.microsoft.com/office/powerpoint/2010/main" val="13578497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mc:Choice xmlns:a14="http://schemas.microsoft.com/office/drawing/2010/main" Requires="a14">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5113337" cy="4858555"/>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Konstruerede s-kurver kan give et indblik i, om projekterne følger den optimale afvikling af budget.</a:t>
                </a:r>
              </a:p>
              <a:p>
                <a:pPr marL="0" indent="0">
                  <a:buFont typeface="Arial" pitchFamily="34" charset="0"/>
                  <a:buNone/>
                </a:pPr>
                <a:endParaRPr lang="da-DK" dirty="0"/>
              </a:p>
              <a:p>
                <a:pPr marL="0" indent="0">
                  <a:buFont typeface="Arial" pitchFamily="34" charset="0"/>
                  <a:buNone/>
                </a:pPr>
                <a:r>
                  <a:rPr lang="da-DK" sz="2000" dirty="0"/>
                  <a:t>Vi kan modellere en ikke-lineær færdiggørelsesgrad, som en funktion af andelen af tid forbrugt, </a:t>
                </a:r>
                <a14:m>
                  <m:oMath xmlns:m="http://schemas.openxmlformats.org/officeDocument/2006/math">
                    <m:r>
                      <a:rPr lang="da-DK" sz="2000" b="0" i="1" smtClean="0">
                        <a:solidFill>
                          <a:schemeClr val="tx1"/>
                        </a:solidFill>
                        <a:latin typeface="Cambria Math" panose="02040503050406030204" pitchFamily="18" charset="0"/>
                      </a:rPr>
                      <m:t>𝑥</m:t>
                    </m:r>
                  </m:oMath>
                </a14:m>
                <a:r>
                  <a:rPr lang="da-DK" sz="2000" dirty="0"/>
                  <a:t>:</a:t>
                </a:r>
              </a:p>
              <a:p>
                <a:pPr marL="0" indent="0">
                  <a:buFont typeface="Arial" pitchFamily="34" charset="0"/>
                  <a:buNone/>
                </a:pPr>
                <a:endParaRPr lang="da-DK" sz="2000" dirty="0"/>
              </a:p>
              <a:p>
                <a:pPr marL="0" indent="0">
                  <a:buFont typeface="Arial" pitchFamily="34" charset="0"/>
                  <a:buNone/>
                </a:pPr>
                <a:endParaRPr lang="da-DK" dirty="0"/>
              </a:p>
              <a:p>
                <a:pPr marL="0" indent="0">
                  <a:buFont typeface="Arial" pitchFamily="34" charset="0"/>
                  <a:buNone/>
                </a:pPr>
                <a:endParaRPr lang="da-DK" sz="2000" dirty="0"/>
              </a:p>
              <a:p>
                <a:pPr marL="0" indent="0">
                  <a:buNone/>
                </a:pPr>
                <a:r>
                  <a:rPr lang="da-DK" sz="1800" dirty="0"/>
                  <a:t>h</a:t>
                </a:r>
                <a:r>
                  <a:rPr lang="da-DK" sz="1800" b="0" dirty="0"/>
                  <a:t>vor vi  definerer hhv.</a:t>
                </a:r>
                <a:r>
                  <a:rPr lang="da-DK" sz="1800" dirty="0"/>
                  <a:t> </a:t>
                </a:r>
                <a14:m>
                  <m:oMath xmlns:m="http://schemas.openxmlformats.org/officeDocument/2006/math">
                    <m:r>
                      <a:rPr lang="da-DK" sz="1800" b="0" i="1" smtClean="0">
                        <a:solidFill>
                          <a:schemeClr val="tx1"/>
                        </a:solidFill>
                        <a:latin typeface="Cambria Math" panose="02040503050406030204" pitchFamily="18" charset="0"/>
                      </a:rPr>
                      <m:t>𝜇</m:t>
                    </m:r>
                    <m:r>
                      <a:rPr lang="da-DK" sz="1800" b="0" i="1" smtClean="0">
                        <a:solidFill>
                          <a:schemeClr val="tx1"/>
                        </a:solidFill>
                        <a:latin typeface="Cambria Math" panose="02040503050406030204" pitchFamily="18" charset="0"/>
                      </a:rPr>
                      <m:t>=0.5</m:t>
                    </m:r>
                  </m:oMath>
                </a14:m>
                <a:r>
                  <a:rPr lang="da-DK" sz="1800" b="0" dirty="0"/>
                  <a:t> og </a:t>
                </a:r>
                <a14:m>
                  <m:oMath xmlns:m="http://schemas.openxmlformats.org/officeDocument/2006/math">
                    <m:r>
                      <a:rPr lang="da-DK" sz="1800" b="0" i="1" smtClean="0">
                        <a:solidFill>
                          <a:schemeClr val="tx1"/>
                        </a:solidFill>
                        <a:latin typeface="Cambria Math" panose="02040503050406030204" pitchFamily="18" charset="0"/>
                      </a:rPr>
                      <m:t>𝜈</m:t>
                    </m:r>
                    <m:r>
                      <a:rPr lang="da-DK" sz="1800" b="0" i="1" smtClean="0">
                        <a:solidFill>
                          <a:schemeClr val="tx1"/>
                        </a:solidFill>
                        <a:latin typeface="Cambria Math" panose="02040503050406030204" pitchFamily="18" charset="0"/>
                      </a:rPr>
                      <m:t>=1.8</m:t>
                    </m:r>
                  </m:oMath>
                </a14:m>
                <a:r>
                  <a:rPr lang="da-DK" sz="1800" b="0" dirty="0"/>
                  <a:t>.</a:t>
                </a:r>
              </a:p>
              <a:p>
                <a:pPr marL="0" indent="0">
                  <a:buNone/>
                </a:pPr>
                <a:endParaRPr lang="da-DK" sz="1800" b="0" dirty="0"/>
              </a:p>
              <a:p>
                <a:pPr marL="0" indent="0">
                  <a:buNone/>
                </a:pPr>
                <a:r>
                  <a:rPr lang="da-DK" sz="1800" dirty="0"/>
                  <a:t>Den største marginale afvikling sker derfor midt i projektets planlagte fase, og </a:t>
                </a:r>
                <a:endParaRPr lang="da-DK" sz="1800" b="0" dirty="0"/>
              </a:p>
              <a:p>
                <a:pPr marL="0" indent="0">
                  <a:buNone/>
                </a:pPr>
                <a:endParaRPr lang="da-DK" sz="1800" b="0" dirty="0"/>
              </a:p>
              <a:p>
                <a:pPr marL="0" indent="0">
                  <a:buNone/>
                </a:pPr>
                <a:endParaRPr lang="da-DK" sz="1800" dirty="0"/>
              </a:p>
              <a:p>
                <a:pPr marL="0" indent="0">
                  <a:buNone/>
                </a:pPr>
                <a:endParaRPr lang="da-DK" sz="1800" b="0" dirty="0"/>
              </a:p>
              <a:p>
                <a:pPr marL="0" indent="0">
                  <a:buNone/>
                </a:pPr>
                <a:endParaRPr lang="da-DK" sz="1800" b="0" dirty="0"/>
              </a:p>
              <a:p>
                <a:pPr marL="0" indent="0">
                  <a:buFont typeface="Arial" pitchFamily="34" charset="0"/>
                  <a:buNone/>
                </a:pPr>
                <a:endParaRPr lang="da-DK" dirty="0"/>
              </a:p>
            </p:txBody>
          </p:sp>
        </mc:Choice>
        <mc:Fallback>
          <p:sp>
            <p:nvSpPr>
              <p:cNvPr id="5" name="Pladsholder til indhold 5">
                <a:extLst>
                  <a:ext uri="{FF2B5EF4-FFF2-40B4-BE49-F238E27FC236}">
                    <a16:creationId xmlns:a16="http://schemas.microsoft.com/office/drawing/2014/main" id="{0256447C-D35F-4F86-D90B-E90F6B46AE7F}"/>
                  </a:ext>
                </a:extLst>
              </p:cNvPr>
              <p:cNvSpPr txBox="1">
                <a:spLocks noRot="1" noChangeAspect="1" noMove="1" noResize="1" noEditPoints="1" noAdjustHandles="1" noChangeArrowheads="1" noChangeShapeType="1" noTextEdit="1"/>
              </p:cNvSpPr>
              <p:nvPr/>
            </p:nvSpPr>
            <p:spPr>
              <a:xfrm>
                <a:off x="982663" y="1266823"/>
                <a:ext cx="5113337" cy="4858555"/>
              </a:xfrm>
              <a:prstGeom prst="rect">
                <a:avLst/>
              </a:prstGeom>
              <a:blipFill>
                <a:blip r:embed="rId7"/>
                <a:stretch>
                  <a:fillRect l="-2980" t="-2258" r="-2026"/>
                </a:stretch>
              </a:blipFill>
            </p:spPr>
            <p:txBody>
              <a:bodyPr/>
              <a:lstStyle/>
              <a:p>
                <a:r>
                  <a:rPr lang="da-DK">
                    <a:noFill/>
                  </a:rPr>
                  <a:t> </a:t>
                </a:r>
              </a:p>
            </p:txBody>
          </p:sp>
        </mc:Fallback>
      </mc:AlternateContent>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documentclass{article}&#10;\usepackage{amsmath}&#10;\pagestyle{empty}&#10;\begin{document}&#10;&#10;\begin{equation*}&#10;\Phi(x;\mu,\nu)=\left[1+\left(\frac{x(1-\mu)}{\mu(1-x)}\right)^{-\nu}\right]^{-1}&#10;\end{equation*}&#10;&#10;&#10;\end{document}" title="IguanaTex Bitmap Display">
            <a:extLst>
              <a:ext uri="{FF2B5EF4-FFF2-40B4-BE49-F238E27FC236}">
                <a16:creationId xmlns:a16="http://schemas.microsoft.com/office/drawing/2014/main" id="{0F345685-9460-E07A-59BB-0DD576793740}"/>
              </a:ext>
            </a:extLst>
          </p:cNvPr>
          <p:cNvPicPr>
            <a:picLocks noChangeAspect="1"/>
          </p:cNvPicPr>
          <p:nvPr>
            <p:custDataLst>
              <p:tags r:id="rId2"/>
            </p:custDataLst>
          </p:nvPr>
        </p:nvPicPr>
        <p:blipFill>
          <a:blip r:embed="rId8"/>
          <a:stretch>
            <a:fillRect/>
          </a:stretch>
        </p:blipFill>
        <p:spPr>
          <a:xfrm>
            <a:off x="1546335" y="3442771"/>
            <a:ext cx="3985992" cy="815545"/>
          </a:xfrm>
          <a:prstGeom prst="rect">
            <a:avLst/>
          </a:prstGeom>
        </p:spPr>
      </p:pic>
      <p:pic>
        <p:nvPicPr>
          <p:cNvPr id="12" name="Grafik 11">
            <a:extLst>
              <a:ext uri="{FF2B5EF4-FFF2-40B4-BE49-F238E27FC236}">
                <a16:creationId xmlns:a16="http://schemas.microsoft.com/office/drawing/2014/main" id="{47664333-D894-5056-83A2-6BDBEC6109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9850" y="1266823"/>
            <a:ext cx="5339508" cy="2669754"/>
          </a:xfrm>
          <a:prstGeom prst="rect">
            <a:avLst/>
          </a:prstGeom>
        </p:spPr>
      </p:pic>
    </p:spTree>
    <p:extLst>
      <p:ext uri="{BB962C8B-B14F-4D97-AF65-F5344CB8AC3E}">
        <p14:creationId xmlns:p14="http://schemas.microsoft.com/office/powerpoint/2010/main" val="7622546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D6804B78-DE4E-B939-80BD-A9B0009A6B44}"/>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003877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91639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Analyse</a:t>
            </a:r>
          </a:p>
        </p:txBody>
      </p:sp>
      <p:sp>
        <p:nvSpPr>
          <p:cNvPr id="15" name="Tekstfelt 14">
            <a:extLst>
              <a:ext uri="{FF2B5EF4-FFF2-40B4-BE49-F238E27FC236}">
                <a16:creationId xmlns:a16="http://schemas.microsoft.com/office/drawing/2014/main" id="{7D65E0FF-8C35-EF72-D70A-B1F4A543BBB0}"/>
              </a:ext>
            </a:extLst>
          </p:cNvPr>
          <p:cNvSpPr txBox="1"/>
          <p:nvPr/>
        </p:nvSpPr>
        <p:spPr>
          <a:xfrm>
            <a:off x="650396" y="931245"/>
            <a:ext cx="5140799" cy="2462213"/>
          </a:xfrm>
          <a:prstGeom prst="rect">
            <a:avLst/>
          </a:prstGeom>
        </p:spPr>
        <p:txBody>
          <a:bodyPr vert="horz" wrap="square" lIns="0" tIns="0" rIns="0" bIns="0" rtlCol="0">
            <a:spAutoFit/>
          </a:bodyPr>
          <a:lstStyle/>
          <a:p>
            <a:pPr marL="285750" indent="-285750" algn="l">
              <a:buFont typeface="Arial" panose="020B0604020202020204" pitchFamily="34" charset="0"/>
              <a:buChar char="•"/>
            </a:pPr>
            <a:r>
              <a:rPr lang="da-DK" sz="1600" dirty="0">
                <a:solidFill>
                  <a:schemeClr val="accent1"/>
                </a:solidFill>
              </a:rPr>
              <a:t>Der realiseres for meget omsætning og for mange omkostninger i starten.</a:t>
            </a:r>
          </a:p>
          <a:p>
            <a:pPr marL="742950" lvl="1" indent="-285750">
              <a:buFont typeface="Arial" panose="020B0604020202020204" pitchFamily="34" charset="0"/>
              <a:buChar char="•"/>
            </a:pPr>
            <a:r>
              <a:rPr lang="da-DK" sz="1600" dirty="0">
                <a:solidFill>
                  <a:schemeClr val="accent1"/>
                </a:solidFill>
              </a:rPr>
              <a:t>Dette er grundlag for en aftagende risiko med tiden.</a:t>
            </a:r>
          </a:p>
          <a:p>
            <a:pPr marL="285750" indent="-285750">
              <a:buFont typeface="Arial" panose="020B0604020202020204" pitchFamily="34" charset="0"/>
              <a:buChar char="•"/>
            </a:pPr>
            <a:r>
              <a:rPr lang="da-DK" sz="1600" dirty="0">
                <a:solidFill>
                  <a:schemeClr val="accent1"/>
                </a:solidFill>
              </a:rPr>
              <a:t>Omkring juli 2022 begynder omsætningen at stige meget relativt til omkostningerne, og risikoen stiger tilsvarende.</a:t>
            </a:r>
          </a:p>
          <a:p>
            <a:pPr marL="285750" indent="-285750">
              <a:buFont typeface="Arial" panose="020B0604020202020204" pitchFamily="34" charset="0"/>
              <a:buChar char="•"/>
            </a:pPr>
            <a:r>
              <a:rPr lang="da-DK" sz="1600" dirty="0">
                <a:solidFill>
                  <a:schemeClr val="accent1"/>
                </a:solidFill>
              </a:rPr>
              <a:t>I oktober 2022 indhenter omkostningerne idealkurven er risikoen falder igen.</a:t>
            </a:r>
          </a:p>
          <a:p>
            <a:pPr marL="285750" indent="-285750">
              <a:buFont typeface="Arial" panose="020B0604020202020204" pitchFamily="34" charset="0"/>
              <a:buChar char="•"/>
            </a:pPr>
            <a:r>
              <a:rPr lang="da-DK" sz="1600" dirty="0">
                <a:solidFill>
                  <a:schemeClr val="accent1"/>
                </a:solidFill>
              </a:rPr>
              <a:t>I takt med at projektet nærmer sig slutdato, og omkostningerne fortsat er under-realiserede stiger risikoen gradvist.</a:t>
            </a:r>
          </a:p>
        </p:txBody>
      </p:sp>
    </p:spTree>
    <p:extLst>
      <p:ext uri="{BB962C8B-B14F-4D97-AF65-F5344CB8AC3E}">
        <p14:creationId xmlns:p14="http://schemas.microsoft.com/office/powerpoint/2010/main" val="1578015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Analyse</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Tal fra Danmarks Statistik giver et billede af en presset branche.</a:t>
            </a:r>
          </a:p>
          <a:p>
            <a:r>
              <a:rPr lang="da-DK" sz="1400" dirty="0"/>
              <a:t>2022 er præget af en tilbagegang i branchen generelt.</a:t>
            </a:r>
          </a:p>
          <a:p>
            <a:r>
              <a:rPr lang="da-DK" sz="1400" dirty="0"/>
              <a:t>I løbet af 2022 faldt producent tillidsindekset 20%-point. Der har ikke været markant fremgang siden.</a:t>
            </a:r>
          </a:p>
          <a:p>
            <a:r>
              <a:rPr lang="da-DK" sz="1400" dirty="0"/>
              <a:t>Andelen af firmaer, som i branchen vurderer, at der er signifikante begrænsninger på produktionskapaciteten, er steget ~40% siden december 2022.</a:t>
            </a:r>
          </a:p>
          <a:p>
            <a:endParaRPr lang="da-DK" sz="1400" dirty="0"/>
          </a:p>
          <a:p>
            <a:endParaRPr lang="da-DK" sz="1400" dirty="0"/>
          </a:p>
          <a:p>
            <a:pPr marL="0" indent="0">
              <a:buNone/>
            </a:pPr>
            <a:endParaRPr lang="da-DK" sz="1400" dirty="0"/>
          </a:p>
          <a:p>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5" name="Grafik 4">
            <a:extLst>
              <a:ext uri="{FF2B5EF4-FFF2-40B4-BE49-F238E27FC236}">
                <a16:creationId xmlns:a16="http://schemas.microsoft.com/office/drawing/2014/main" id="{ADAC423B-C252-4C66-7292-7A219FD869D6}"/>
              </a:ext>
            </a:extLst>
          </p:cNvPr>
          <p:cNvPicPr>
            <a:picLocks noChangeAspect="1"/>
          </p:cNvPicPr>
          <p:nvPr/>
        </p:nvPicPr>
        <p:blipFill>
          <a:blip r:embed="rId6">
            <a:extLst>
              <a:ext uri="{96DAC541-7B7A-43D3-8B79-37D633B846F1}">
                <asvg:svgBlip xmlns:asvg="http://schemas.microsoft.com/office/drawing/2016/SVG/main" r:link="rId7"/>
              </a:ext>
            </a:extLst>
          </a:blip>
          <a:stretch>
            <a:fillRect/>
          </a:stretch>
        </p:blipFill>
        <p:spPr>
          <a:xfrm>
            <a:off x="3580845" y="1088631"/>
            <a:ext cx="7952342" cy="3976171"/>
          </a:xfrm>
          <a:prstGeom prst="rect">
            <a:avLst/>
          </a:prstGeom>
        </p:spPr>
      </p:pic>
    </p:spTree>
    <p:extLst>
      <p:ext uri="{BB962C8B-B14F-4D97-AF65-F5344CB8AC3E}">
        <p14:creationId xmlns:p14="http://schemas.microsoft.com/office/powerpoint/2010/main" val="21919272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EB01291D-C591-FF49-B6E9-903D33D3D6F9}"/>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9119552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Danmarks Statistik</a:t>
            </a:r>
          </a:p>
          <a:p>
            <a:r>
              <a:rPr lang="da-DK" sz="1400" dirty="0"/>
              <a:t>Følger tendensen.</a:t>
            </a:r>
          </a:p>
          <a:p>
            <a:r>
              <a:rPr lang="da-DK" sz="1400" dirty="0"/>
              <a:t>Nyere sager kan i højere grad tilskrives makroøkonomiske tendenser.</a:t>
            </a:r>
          </a:p>
          <a:p>
            <a:endParaRPr lang="da-DK" sz="1400" dirty="0"/>
          </a:p>
          <a:p>
            <a:pPr marL="0" indent="0">
              <a:buNone/>
            </a:pPr>
            <a:endParaRPr lang="da-DK" sz="1400" dirty="0"/>
          </a:p>
          <a:p>
            <a:endParaRPr lang="da-DK" sz="1400" dirty="0"/>
          </a:p>
          <a:p>
            <a:pPr marL="0" indent="0">
              <a:buNone/>
            </a:pPr>
            <a:endParaRPr lang="da-DK" sz="1400" dirty="0"/>
          </a:p>
          <a:p>
            <a:pPr marL="0" indent="0">
              <a:buNone/>
            </a:pPr>
            <a:endParaRPr lang="da-DK" dirty="0"/>
          </a:p>
          <a:p>
            <a:endParaRPr lang="da-DK" dirty="0"/>
          </a:p>
          <a:p>
            <a:pPr lvl="1"/>
            <a:endParaRPr lang="da-DK" dirty="0"/>
          </a:p>
        </p:txBody>
      </p:sp>
    </p:spTree>
    <p:extLst>
      <p:ext uri="{BB962C8B-B14F-4D97-AF65-F5344CB8AC3E}">
        <p14:creationId xmlns:p14="http://schemas.microsoft.com/office/powerpoint/2010/main" val="3816713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1540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ladsholder til billede 21">
            <a:extLst>
              <a:ext uri="{FF2B5EF4-FFF2-40B4-BE49-F238E27FC236}">
                <a16:creationId xmlns:a16="http://schemas.microsoft.com/office/drawing/2014/main" id="{5CEAF9BE-0C77-42EF-A843-2DD67A37E7E0}"/>
              </a:ext>
            </a:extLst>
          </p:cNvPr>
          <p:cNvPicPr>
            <a:picLocks noGrp="1" noChangeAspect="1"/>
          </p:cNvPicPr>
          <p:nvPr>
            <p:ph type="pic" sz="quarter" idx="13"/>
          </p:nvPr>
        </p:nvPicPr>
        <p:blipFill>
          <a:blip r:embed="rId6"/>
          <a:srcRect l="30411" r="30411"/>
          <a:stretch/>
        </p:blipFill>
        <p:spPr>
          <a:xfrm>
            <a:off x="8161784" y="0"/>
            <a:ext cx="4030217" cy="6858000"/>
          </a:xfrm>
        </p:spPr>
      </p:pic>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spTree>
    <p:extLst>
      <p:ext uri="{BB962C8B-B14F-4D97-AF65-F5344CB8AC3E}">
        <p14:creationId xmlns:p14="http://schemas.microsoft.com/office/powerpoint/2010/main" val="2641621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S-kurver</a:t>
            </a:r>
          </a:p>
          <a:p>
            <a:r>
              <a:rPr lang="da-DK" sz="1400" dirty="0"/>
              <a:t>Følger generelt tendensen, men overestimerer ændringerne.</a:t>
            </a:r>
          </a:p>
          <a:p>
            <a:r>
              <a:rPr lang="da-DK" sz="1400" dirty="0"/>
              <a:t>Bias opadtil.</a:t>
            </a:r>
          </a:p>
          <a:p>
            <a:pPr marL="0" indent="0">
              <a:buNone/>
            </a:pPr>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7038" y="1269000"/>
            <a:ext cx="8640000" cy="4320000"/>
          </a:xfrm>
          <a:prstGeom prst="rect">
            <a:avLst/>
          </a:prstGeom>
        </p:spPr>
      </p:pic>
    </p:spTree>
    <p:extLst>
      <p:ext uri="{BB962C8B-B14F-4D97-AF65-F5344CB8AC3E}">
        <p14:creationId xmlns:p14="http://schemas.microsoft.com/office/powerpoint/2010/main" val="1279689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Lineær model med lags og budget</a:t>
            </a:r>
          </a:p>
          <a:p>
            <a:r>
              <a:rPr lang="da-DK" sz="1400" dirty="0"/>
              <a:t>Høj variation i fejlleddet</a:t>
            </a:r>
          </a:p>
          <a:p>
            <a:r>
              <a:rPr lang="da-DK" sz="1400" dirty="0"/>
              <a:t>Kan generelt ikke bruges.</a:t>
            </a:r>
          </a:p>
          <a:p>
            <a:r>
              <a:rPr lang="da-DK" sz="1400" dirty="0"/>
              <a:t>Kan spotte tendenserne, men overestimerer i høj grad.</a:t>
            </a:r>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21981073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err="1"/>
              <a:t>Elastic</a:t>
            </a:r>
            <a:r>
              <a:rPr lang="da-DK" dirty="0"/>
              <a:t> Net</a:t>
            </a:r>
          </a:p>
          <a:p>
            <a:r>
              <a:rPr lang="da-DK" sz="1400" dirty="0"/>
              <a:t>En smule bias opadtil.</a:t>
            </a:r>
          </a:p>
          <a:p>
            <a:r>
              <a:rPr lang="da-DK" sz="1400" dirty="0"/>
              <a:t>Kan i høj grad bruges til at beskrive tendens, men ikke niveau.</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14316175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Kombinationer</a:t>
            </a:r>
          </a:p>
          <a:p>
            <a:r>
              <a:rPr lang="da-DK" sz="1400" dirty="0"/>
              <a:t>En smule bias opadtil.</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160220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0B637C6C-456C-8023-CD6E-7BBDBDCB184D}"/>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1808944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403963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Diskussion af resultater</a:t>
            </a:r>
          </a:p>
        </p:txBody>
      </p:sp>
      <p:sp>
        <p:nvSpPr>
          <p:cNvPr id="7" name="Pladsholder til indhold 6">
            <a:extLst>
              <a:ext uri="{FF2B5EF4-FFF2-40B4-BE49-F238E27FC236}">
                <a16:creationId xmlns:a16="http://schemas.microsoft.com/office/drawing/2014/main" id="{DEC53627-8BE2-118B-148A-8A775CEDD3D3}"/>
              </a:ext>
            </a:extLst>
          </p:cNvPr>
          <p:cNvSpPr>
            <a:spLocks noGrp="1"/>
          </p:cNvSpPr>
          <p:nvPr>
            <p:ph sz="quarter" idx="13"/>
          </p:nvPr>
        </p:nvSpPr>
        <p:spPr/>
        <p:txBody>
          <a:bodyPr/>
          <a:lstStyle/>
          <a:p>
            <a:r>
              <a:rPr lang="da-DK" dirty="0"/>
              <a:t>Hvordan vurderer man om modellerne er præcise nok? </a:t>
            </a:r>
          </a:p>
          <a:p>
            <a:pPr lvl="1"/>
            <a:r>
              <a:rPr lang="da-DK" dirty="0"/>
              <a:t>Skal det kombineres med en vurdering af </a:t>
            </a:r>
            <a:r>
              <a:rPr lang="da-DK" dirty="0" err="1"/>
              <a:t>VaR</a:t>
            </a:r>
            <a:r>
              <a:rPr lang="da-DK" dirty="0"/>
              <a:t>?</a:t>
            </a:r>
          </a:p>
          <a:p>
            <a:r>
              <a:rPr lang="da-DK" dirty="0"/>
              <a:t>Kan modellernes forudsigelser benyttes til at skabe bedre resultater?</a:t>
            </a:r>
          </a:p>
          <a:p>
            <a:r>
              <a:rPr lang="da-DK" dirty="0"/>
              <a:t>Giver det mening at erstatte en subjektiv risikovurdering med en objektiv?</a:t>
            </a:r>
          </a:p>
          <a:p>
            <a:pPr lvl="1"/>
            <a:r>
              <a:rPr lang="da-DK" dirty="0"/>
              <a:t>Kan de to metoder koeksistere?</a:t>
            </a:r>
          </a:p>
          <a:p>
            <a:r>
              <a:rPr lang="da-DK" dirty="0"/>
              <a:t>Vil beslutningstagerne i virksomheden have tillid til modellen?</a:t>
            </a:r>
          </a:p>
          <a:p>
            <a:endParaRPr lang="da-DK" dirty="0"/>
          </a:p>
        </p:txBody>
      </p:sp>
    </p:spTree>
    <p:extLst>
      <p:ext uri="{BB962C8B-B14F-4D97-AF65-F5344CB8AC3E}">
        <p14:creationId xmlns:p14="http://schemas.microsoft.com/office/powerpoint/2010/main" val="39721085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737625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4" name="Pladsholder til billede 23" descr="Et billede, der indeholder udendørs, sky, køretøj, hjul&#10;&#10;Automatisk genereret beskrivelse">
            <a:extLst>
              <a:ext uri="{FF2B5EF4-FFF2-40B4-BE49-F238E27FC236}">
                <a16:creationId xmlns:a16="http://schemas.microsoft.com/office/drawing/2014/main" id="{53AE1CB5-74B0-8748-0C1C-6A905AD892EF}"/>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1287878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25CA449-E3EB-0DD4-6908-6F7AA75DB9C8}"/>
              </a:ext>
            </a:extLst>
          </p:cNvPr>
          <p:cNvGraphicFramePr>
            <a:graphicFrameLocks noChangeAspect="1"/>
          </p:cNvGraphicFramePr>
          <p:nvPr>
            <p:custDataLst>
              <p:tags r:id="rId1"/>
            </p:custDataLst>
            <p:extLst>
              <p:ext uri="{D42A27DB-BD31-4B8C-83A1-F6EECF244321}">
                <p14:modId xmlns:p14="http://schemas.microsoft.com/office/powerpoint/2010/main" val="49075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C25CA449-E3EB-0DD4-6908-6F7AA75DB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ctrTitle"/>
          </p:nvPr>
        </p:nvSpPr>
        <p:spPr>
          <a:xfrm>
            <a:off x="1486694" y="2659200"/>
            <a:ext cx="9218612" cy="1539600"/>
          </a:xfrm>
        </p:spPr>
        <p:txBody>
          <a:bodyPr vert="horz" anchor="t"/>
          <a:lstStyle/>
          <a:p>
            <a:pPr algn="l">
              <a:lnSpc>
                <a:spcPct val="100000"/>
              </a:lnSpc>
            </a:pPr>
            <a:r>
              <a:rPr lang="da-DK" sz="3200" b="1" dirty="0">
                <a:effectLst/>
                <a:latin typeface="Arial" panose="020B0604020202020204" pitchFamily="34" charset="0"/>
                <a:ea typeface="Calibri" panose="020F0502020204030204" pitchFamily="34" charset="0"/>
              </a:rPr>
              <a:t>Kan maskinlæringsmodeller præcist forudsige marginer og risici på tværs af ELCONs forskellige entrepriseprojekter?</a:t>
            </a:r>
            <a:br>
              <a:rPr lang="da-DK" sz="3200" dirty="0">
                <a:effectLst/>
                <a:latin typeface="Calibri" panose="020F0502020204030204" pitchFamily="34" charset="0"/>
                <a:ea typeface="Calibri" panose="020F0502020204030204" pitchFamily="34" charset="0"/>
              </a:rPr>
            </a:br>
            <a:endParaRPr lang="da-DK" sz="7200" dirty="0"/>
          </a:p>
        </p:txBody>
      </p:sp>
      <p:sp>
        <p:nvSpPr>
          <p:cNvPr id="9" name="Pladsholder til tekst 8">
            <a:extLst>
              <a:ext uri="{FF2B5EF4-FFF2-40B4-BE49-F238E27FC236}">
                <a16:creationId xmlns:a16="http://schemas.microsoft.com/office/drawing/2014/main" id="{4CA452FA-BA94-3A20-0CC0-D01DB3A19019}"/>
              </a:ext>
            </a:extLst>
          </p:cNvPr>
          <p:cNvSpPr>
            <a:spLocks noGrp="1"/>
          </p:cNvSpPr>
          <p:nvPr>
            <p:ph type="body" sz="quarter" idx="17"/>
          </p:nvPr>
        </p:nvSpPr>
        <p:spPr/>
        <p:txBody>
          <a:bodyPr/>
          <a:lstStyle/>
          <a:p>
            <a:endParaRPr lang="da-DK"/>
          </a:p>
        </p:txBody>
      </p:sp>
    </p:spTree>
    <p:extLst>
      <p:ext uri="{BB962C8B-B14F-4D97-AF65-F5344CB8AC3E}">
        <p14:creationId xmlns:p14="http://schemas.microsoft.com/office/powerpoint/2010/main" val="2678748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4F5744-822E-272D-9EB9-E4CFFB864E67}"/>
              </a:ext>
            </a:extLst>
          </p:cNvPr>
          <p:cNvGraphicFramePr>
            <a:graphicFrameLocks noChangeAspect="1"/>
          </p:cNvGraphicFramePr>
          <p:nvPr>
            <p:custDataLst>
              <p:tags r:id="rId1"/>
            </p:custDataLst>
            <p:extLst>
              <p:ext uri="{D42A27DB-BD31-4B8C-83A1-F6EECF244321}">
                <p14:modId xmlns:p14="http://schemas.microsoft.com/office/powerpoint/2010/main" val="392926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DA4F5744-822E-272D-9EB9-E4CFFB864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el 1">
            <a:extLst>
              <a:ext uri="{FF2B5EF4-FFF2-40B4-BE49-F238E27FC236}">
                <a16:creationId xmlns:a16="http://schemas.microsoft.com/office/drawing/2014/main" id="{9C6F2DC5-280B-B242-0715-F5482580179E}"/>
              </a:ext>
            </a:extLst>
          </p:cNvPr>
          <p:cNvSpPr txBox="1">
            <a:spLocks/>
          </p:cNvSpPr>
          <p:nvPr/>
        </p:nvSpPr>
        <p:spPr>
          <a:xfrm>
            <a:off x="982663" y="243409"/>
            <a:ext cx="8303577" cy="1292496"/>
          </a:xfrm>
          <a:prstGeom prst="rect">
            <a:avLst/>
          </a:prstGeom>
        </p:spPr>
        <p:txBody>
          <a:bodyPr vert="horz" lIns="0" tIns="0" rIns="0" bIns="0" rtlCol="0" anchor="b">
            <a:noAutofit/>
          </a:bodyPr>
          <a:lst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a:lstStyle>
          <a:p>
            <a:r>
              <a:rPr lang="da-DK" dirty="0"/>
              <a:t>Problemformulering</a:t>
            </a:r>
          </a:p>
        </p:txBody>
      </p:sp>
      <p:grpSp>
        <p:nvGrpSpPr>
          <p:cNvPr id="25" name="Gruppe 24">
            <a:extLst>
              <a:ext uri="{FF2B5EF4-FFF2-40B4-BE49-F238E27FC236}">
                <a16:creationId xmlns:a16="http://schemas.microsoft.com/office/drawing/2014/main" id="{A2C2722A-AD85-3EE8-5CAB-992F35AC1BCE}"/>
              </a:ext>
            </a:extLst>
          </p:cNvPr>
          <p:cNvGrpSpPr/>
          <p:nvPr/>
        </p:nvGrpSpPr>
        <p:grpSpPr>
          <a:xfrm>
            <a:off x="3574247" y="1991683"/>
            <a:ext cx="2170921" cy="3096232"/>
            <a:chOff x="3396612" y="1644256"/>
            <a:chExt cx="2170921" cy="3096232"/>
          </a:xfrm>
        </p:grpSpPr>
        <p:sp>
          <p:nvSpPr>
            <p:cNvPr id="12" name="TextBox 5 - 1">
              <a:extLst>
                <a:ext uri="{FF2B5EF4-FFF2-40B4-BE49-F238E27FC236}">
                  <a16:creationId xmlns:a16="http://schemas.microsoft.com/office/drawing/2014/main" id="{2E5DBFB2-6254-4D85-BA12-9421EF5CB27B}"/>
                </a:ext>
              </a:extLst>
            </p:cNvPr>
            <p:cNvSpPr txBox="1">
              <a:spLocks/>
            </p:cNvSpPr>
            <p:nvPr/>
          </p:nvSpPr>
          <p:spPr>
            <a:xfrm>
              <a:off x="3396612" y="1644256"/>
              <a:ext cx="431208"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B</a:t>
              </a:r>
            </a:p>
          </p:txBody>
        </p:sp>
        <p:sp>
          <p:nvSpPr>
            <p:cNvPr id="22" name="Pladsholder til indhold 8">
              <a:extLst>
                <a:ext uri="{FF2B5EF4-FFF2-40B4-BE49-F238E27FC236}">
                  <a16:creationId xmlns:a16="http://schemas.microsoft.com/office/drawing/2014/main" id="{E8C399C7-C1E5-D310-9507-782E9AC692AD}"/>
                </a:ext>
              </a:extLst>
            </p:cNvPr>
            <p:cNvSpPr txBox="1">
              <a:spLocks/>
            </p:cNvSpPr>
            <p:nvPr/>
          </p:nvSpPr>
          <p:spPr>
            <a:xfrm>
              <a:off x="3396612" y="2392153"/>
              <a:ext cx="2170921" cy="2348335"/>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Forudsigelser</a:t>
              </a:r>
            </a:p>
            <a:p>
              <a:pPr marL="0" indent="0">
                <a:buFont typeface="Arial" pitchFamily="34" charset="0"/>
                <a:buNone/>
              </a:pPr>
              <a:r>
                <a:rPr lang="da-DK" sz="1600" dirty="0"/>
                <a:t>Grundlaget for beslutningstagning er et fuldt informationssæt. Forudsætningen for dette er forudsigelser med tilstrækkelig lav fejlmargin, både frem i tiden, men også på tværs af projekter.</a:t>
              </a:r>
            </a:p>
          </p:txBody>
        </p:sp>
      </p:grpSp>
      <p:grpSp>
        <p:nvGrpSpPr>
          <p:cNvPr id="31" name="Gruppe 30">
            <a:extLst>
              <a:ext uri="{FF2B5EF4-FFF2-40B4-BE49-F238E27FC236}">
                <a16:creationId xmlns:a16="http://schemas.microsoft.com/office/drawing/2014/main" id="{F20FA6EF-6A98-C6F0-3793-BC9C516343D7}"/>
              </a:ext>
            </a:extLst>
          </p:cNvPr>
          <p:cNvGrpSpPr/>
          <p:nvPr/>
        </p:nvGrpSpPr>
        <p:grpSpPr>
          <a:xfrm>
            <a:off x="6446831" y="1991683"/>
            <a:ext cx="2170921" cy="2874633"/>
            <a:chOff x="6064561" y="1644256"/>
            <a:chExt cx="2170921" cy="2874633"/>
          </a:xfrm>
        </p:grpSpPr>
        <p:sp>
          <p:nvSpPr>
            <p:cNvPr id="11" name="TextBox 5 - 2">
              <a:extLst>
                <a:ext uri="{FF2B5EF4-FFF2-40B4-BE49-F238E27FC236}">
                  <a16:creationId xmlns:a16="http://schemas.microsoft.com/office/drawing/2014/main" id="{F2D1ABE1-5DEA-4BC7-A383-C87624EBC8FE}"/>
                </a:ext>
              </a:extLst>
            </p:cNvPr>
            <p:cNvSpPr txBox="1">
              <a:spLocks/>
            </p:cNvSpPr>
            <p:nvPr/>
          </p:nvSpPr>
          <p:spPr>
            <a:xfrm>
              <a:off x="6064561" y="1644256"/>
              <a:ext cx="403957"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C</a:t>
              </a:r>
            </a:p>
          </p:txBody>
        </p:sp>
        <p:sp>
          <p:nvSpPr>
            <p:cNvPr id="23" name="Pladsholder til indhold 8">
              <a:extLst>
                <a:ext uri="{FF2B5EF4-FFF2-40B4-BE49-F238E27FC236}">
                  <a16:creationId xmlns:a16="http://schemas.microsoft.com/office/drawing/2014/main" id="{A2CF2E1D-7AB4-1494-0202-03BB4783B61A}"/>
                </a:ext>
              </a:extLst>
            </p:cNvPr>
            <p:cNvSpPr txBox="1">
              <a:spLocks/>
            </p:cNvSpPr>
            <p:nvPr/>
          </p:nvSpPr>
          <p:spPr>
            <a:xfrm>
              <a:off x="6064561" y="23921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Marginer</a:t>
              </a:r>
            </a:p>
            <a:p>
              <a:pPr marL="0" indent="0">
                <a:buFont typeface="Arial" pitchFamily="34" charset="0"/>
                <a:buNone/>
              </a:pPr>
              <a:r>
                <a:rPr lang="da-DK" sz="1600" dirty="0"/>
                <a:t>Nøjagtige forudsigelser af marginer kan danne grundlag for en mere objektiv beslutningstagen. Dette kan være med til at reducere mængden af tavs viden. </a:t>
              </a:r>
            </a:p>
          </p:txBody>
        </p:sp>
      </p:grpSp>
      <p:grpSp>
        <p:nvGrpSpPr>
          <p:cNvPr id="32" name="Gruppe 31">
            <a:extLst>
              <a:ext uri="{FF2B5EF4-FFF2-40B4-BE49-F238E27FC236}">
                <a16:creationId xmlns:a16="http://schemas.microsoft.com/office/drawing/2014/main" id="{B875996F-D7A7-7CE3-9681-69F3418BF28D}"/>
              </a:ext>
            </a:extLst>
          </p:cNvPr>
          <p:cNvGrpSpPr/>
          <p:nvPr/>
        </p:nvGrpSpPr>
        <p:grpSpPr>
          <a:xfrm>
            <a:off x="9319415" y="1991683"/>
            <a:ext cx="2170921" cy="2902333"/>
            <a:chOff x="8693236" y="1644256"/>
            <a:chExt cx="2170921" cy="2902333"/>
          </a:xfrm>
        </p:grpSpPr>
        <p:sp>
          <p:nvSpPr>
            <p:cNvPr id="13" name="TextBox 5 - 3">
              <a:extLst>
                <a:ext uri="{FF2B5EF4-FFF2-40B4-BE49-F238E27FC236}">
                  <a16:creationId xmlns:a16="http://schemas.microsoft.com/office/drawing/2014/main" id="{E13D7B49-6DD3-43C3-9A2E-E2BA90A74A41}"/>
                </a:ext>
              </a:extLst>
            </p:cNvPr>
            <p:cNvSpPr txBox="1">
              <a:spLocks/>
            </p:cNvSpPr>
            <p:nvPr/>
          </p:nvSpPr>
          <p:spPr>
            <a:xfrm>
              <a:off x="8693236" y="1644256"/>
              <a:ext cx="47769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a:solidFill>
                    <a:schemeClr val="accent5"/>
                  </a:solidFill>
                </a:rPr>
                <a:t>D</a:t>
              </a:r>
              <a:endParaRPr lang="da-DK" sz="5400" b="1" dirty="0">
                <a:solidFill>
                  <a:schemeClr val="accent5"/>
                </a:solidFill>
              </a:endParaRPr>
            </a:p>
          </p:txBody>
        </p:sp>
        <p:sp>
          <p:nvSpPr>
            <p:cNvPr id="24" name="Pladsholder til indhold 8">
              <a:extLst>
                <a:ext uri="{FF2B5EF4-FFF2-40B4-BE49-F238E27FC236}">
                  <a16:creationId xmlns:a16="http://schemas.microsoft.com/office/drawing/2014/main" id="{B7CB5A19-F73E-89F5-3B99-742957B1CF2B}"/>
                </a:ext>
              </a:extLst>
            </p:cNvPr>
            <p:cNvSpPr txBox="1">
              <a:spLocks/>
            </p:cNvSpPr>
            <p:nvPr/>
          </p:nvSpPr>
          <p:spPr>
            <a:xfrm>
              <a:off x="8693236" y="24198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Risici</a:t>
              </a:r>
            </a:p>
            <a:p>
              <a:pPr marL="0" indent="0">
                <a:buFont typeface="Arial" pitchFamily="34" charset="0"/>
                <a:buNone/>
              </a:pPr>
              <a:r>
                <a:rPr lang="da-DK" sz="1600" dirty="0"/>
                <a:t>Ved hjælp af datareduktionsteknikker kan informationssættet koges ned til ét enkelt risikomål. Et risikomål kan danne grundlag for en proaktiv risikostyring på projekterne.</a:t>
              </a:r>
            </a:p>
          </p:txBody>
        </p:sp>
      </p:grpSp>
      <p:grpSp>
        <p:nvGrpSpPr>
          <p:cNvPr id="26" name="Gruppe 25">
            <a:extLst>
              <a:ext uri="{FF2B5EF4-FFF2-40B4-BE49-F238E27FC236}">
                <a16:creationId xmlns:a16="http://schemas.microsoft.com/office/drawing/2014/main" id="{BBAB5653-01E6-4085-DCDC-F243ACBDB042}"/>
              </a:ext>
            </a:extLst>
          </p:cNvPr>
          <p:cNvGrpSpPr/>
          <p:nvPr/>
        </p:nvGrpSpPr>
        <p:grpSpPr>
          <a:xfrm>
            <a:off x="701663" y="1991683"/>
            <a:ext cx="2170921" cy="3228576"/>
            <a:chOff x="3396612" y="1644256"/>
            <a:chExt cx="2170921" cy="3228576"/>
          </a:xfrm>
        </p:grpSpPr>
        <p:sp>
          <p:nvSpPr>
            <p:cNvPr id="27" name="TextBox 5 - 1">
              <a:extLst>
                <a:ext uri="{FF2B5EF4-FFF2-40B4-BE49-F238E27FC236}">
                  <a16:creationId xmlns:a16="http://schemas.microsoft.com/office/drawing/2014/main" id="{FA06AD48-B719-5AE4-1C29-92301241A93A}"/>
                </a:ext>
              </a:extLst>
            </p:cNvPr>
            <p:cNvSpPr txBox="1">
              <a:spLocks/>
            </p:cNvSpPr>
            <p:nvPr/>
          </p:nvSpPr>
          <p:spPr>
            <a:xfrm>
              <a:off x="3396612" y="1644256"/>
              <a:ext cx="45525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A</a:t>
              </a:r>
            </a:p>
          </p:txBody>
        </p:sp>
        <p:sp>
          <p:nvSpPr>
            <p:cNvPr id="28" name="Pladsholder til indhold 8">
              <a:extLst>
                <a:ext uri="{FF2B5EF4-FFF2-40B4-BE49-F238E27FC236}">
                  <a16:creationId xmlns:a16="http://schemas.microsoft.com/office/drawing/2014/main" id="{98D9ED06-1B29-6257-5CA9-5B684C58A0A5}"/>
                </a:ext>
              </a:extLst>
            </p:cNvPr>
            <p:cNvSpPr txBox="1">
              <a:spLocks/>
            </p:cNvSpPr>
            <p:nvPr/>
          </p:nvSpPr>
          <p:spPr>
            <a:xfrm>
              <a:off x="3396612" y="2392153"/>
              <a:ext cx="2170921" cy="2480679"/>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b="1" dirty="0"/>
                <a:t>Maskinlærings-modeller</a:t>
              </a:r>
            </a:p>
            <a:p>
              <a:pPr marL="0" indent="0">
                <a:buNone/>
              </a:pPr>
              <a:r>
                <a:rPr lang="da-DK" sz="1600" dirty="0"/>
                <a:t>Komplekse datastrukturer gør traditionelle statistiske modeller ubrugelige, da der er en ikke-negligerbar kovarians mellem de observerede variable.</a:t>
              </a:r>
            </a:p>
            <a:p>
              <a:pPr marL="0" indent="0">
                <a:buFont typeface="Arial" pitchFamily="34" charset="0"/>
                <a:buNone/>
              </a:pPr>
              <a:endParaRPr lang="da-DK" sz="1600" dirty="0"/>
            </a:p>
          </p:txBody>
        </p:sp>
      </p:grpSp>
    </p:spTree>
    <p:extLst>
      <p:ext uri="{BB962C8B-B14F-4D97-AF65-F5344CB8AC3E}">
        <p14:creationId xmlns:p14="http://schemas.microsoft.com/office/powerpoint/2010/main" val="637503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801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5" name="Pladsholder til billede 24" descr="Et billede, der indeholder udendørs, sky, køretøj, hjul&#10;&#10;Automatisk genereret beskrivelse">
            <a:extLst>
              <a:ext uri="{FF2B5EF4-FFF2-40B4-BE49-F238E27FC236}">
                <a16:creationId xmlns:a16="http://schemas.microsoft.com/office/drawing/2014/main" id="{47F72850-556D-07BA-2992-E1CAF5869C4E}"/>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2876952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018312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err="1"/>
              <a:t>Random</a:t>
            </a:r>
            <a:r>
              <a:rPr lang="da-DK" b="1" dirty="0"/>
              <a:t> Forest (RF): </a:t>
            </a:r>
            <a:r>
              <a:rPr lang="da-DK" dirty="0"/>
              <a:t>Bruger en samling af beslutningstræer til at lave forudsigelser baseret på attributter.</a:t>
            </a:r>
          </a:p>
          <a:p>
            <a:pPr lvl="1">
              <a:lnSpc>
                <a:spcPct val="100000"/>
              </a:lnSpc>
            </a:pPr>
            <a:r>
              <a:rPr lang="da-DK" dirty="0"/>
              <a:t>Hvert træ bidrager med en forudsigelse, og den endelige forudsigelse bestemmes ved at aggregere de mest hyppige resultater fra alle træerne.</a:t>
            </a:r>
          </a:p>
          <a:p>
            <a:pPr lvl="1">
              <a:lnSpc>
                <a:spcPct val="100000"/>
              </a:lnSpc>
            </a:pPr>
            <a:r>
              <a:rPr lang="da-DK" dirty="0"/>
              <a:t>Genererer flere underdatasæt ved at tages tilfældige stikprøver fra datasættet med tilbagelægning. Dette medfører at modellen generelt er mere robust og mindre følsom over for støj i dataene og overfitting.</a:t>
            </a:r>
          </a:p>
          <a:p>
            <a:pPr lvl="1">
              <a:lnSpc>
                <a:spcPct val="100000"/>
              </a:lnSpc>
            </a:pPr>
            <a:endParaRPr lang="da-DK" dirty="0"/>
          </a:p>
          <a:p>
            <a:pPr>
              <a:lnSpc>
                <a:spcPct val="100000"/>
              </a:lnSpc>
            </a:pPr>
            <a:r>
              <a:rPr lang="da-DK" b="1" dirty="0"/>
              <a:t>Support </a:t>
            </a:r>
            <a:r>
              <a:rPr lang="da-DK" b="1" dirty="0" err="1"/>
              <a:t>Vector</a:t>
            </a:r>
            <a:r>
              <a:rPr lang="da-DK" b="1" dirty="0"/>
              <a:t> Regression (SVR): </a:t>
            </a:r>
            <a:r>
              <a:rPr lang="da-DK" dirty="0"/>
              <a:t>Finder en funktionel form, der bedst passer til de tilgængelige data, mens fejlen mellem prædiktion og realiserede værdier minimeres.</a:t>
            </a:r>
          </a:p>
          <a:p>
            <a:pPr lvl="1">
              <a:lnSpc>
                <a:spcPct val="100000"/>
              </a:lnSpc>
            </a:pPr>
            <a:r>
              <a:rPr lang="da-DK" dirty="0"/>
              <a:t>Fungerer godt for datasæt med høj dimensionalitet og er i stand til at fange komplekse relationer mellem variabler.</a:t>
            </a:r>
          </a:p>
          <a:p>
            <a:pPr lvl="1">
              <a:lnSpc>
                <a:spcPct val="100000"/>
              </a:lnSpc>
            </a:pPr>
            <a:r>
              <a:rPr lang="da-DK" dirty="0"/>
              <a:t>Særligt nyttig i starten af projekternes levetid, da den er efficient ved små datasæt.</a:t>
            </a:r>
          </a:p>
          <a:p>
            <a:pPr lvl="1">
              <a:lnSpc>
                <a:spcPct val="100000"/>
              </a:lnSpc>
            </a:pPr>
            <a:r>
              <a:rPr lang="da-DK" dirty="0"/>
              <a:t>Benytter en teknik til at løse ikke-lineære relationer ved at transformere til en højere dimension, og derefter adskille data lineært.</a:t>
            </a:r>
          </a:p>
          <a:p>
            <a:pPr marL="0" indent="0">
              <a:lnSpc>
                <a:spcPct val="100000"/>
              </a:lnSpc>
              <a:buNone/>
            </a:pPr>
            <a:endParaRPr lang="da-DK" dirty="0"/>
          </a:p>
        </p:txBody>
      </p:sp>
    </p:spTree>
    <p:extLst>
      <p:ext uri="{BB962C8B-B14F-4D97-AF65-F5344CB8AC3E}">
        <p14:creationId xmlns:p14="http://schemas.microsoft.com/office/powerpoint/2010/main" val="24925245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a:t>Gradient </a:t>
            </a:r>
            <a:r>
              <a:rPr lang="da-DK" b="1" dirty="0" err="1"/>
              <a:t>Boosting</a:t>
            </a:r>
            <a:r>
              <a:rPr lang="da-DK" b="1" dirty="0"/>
              <a:t> Machines (GBM)</a:t>
            </a:r>
            <a:r>
              <a:rPr lang="da-DK" dirty="0"/>
              <a:t>: Bruger en ensemble-metode, der kombinerer flere "svage" modeller, typisk beslutningstræer, for at skabe en stærk prædiktiv model.</a:t>
            </a:r>
          </a:p>
          <a:p>
            <a:pPr lvl="1">
              <a:lnSpc>
                <a:spcPct val="100000"/>
              </a:lnSpc>
            </a:pPr>
            <a:r>
              <a:rPr lang="da-DK" dirty="0"/>
              <a:t>Hver svage model retter fejlene fra den foregående model, og deres forudsigelser kombineres for at opnå en endelig, mere nøjagtig forudsigelse.</a:t>
            </a:r>
          </a:p>
          <a:p>
            <a:pPr lvl="1">
              <a:lnSpc>
                <a:spcPct val="100000"/>
              </a:lnSpc>
            </a:pPr>
            <a:r>
              <a:rPr lang="da-DK" dirty="0"/>
              <a:t>Kan effektivt håndtere manglende data og fange komplekse, ikke-lineære relationer i store datasæt.</a:t>
            </a:r>
          </a:p>
          <a:p>
            <a:pPr lvl="1">
              <a:lnSpc>
                <a:spcPct val="100000"/>
              </a:lnSpc>
            </a:pPr>
            <a:r>
              <a:rPr lang="da-DK" dirty="0"/>
              <a:t>Minimerer overfitting, hvilket gør den velegnet til komplekse datasæt med mange variabler.</a:t>
            </a:r>
          </a:p>
          <a:p>
            <a:pPr>
              <a:lnSpc>
                <a:spcPct val="100000"/>
              </a:lnSpc>
            </a:pPr>
            <a:endParaRPr lang="da-DK" b="1" dirty="0"/>
          </a:p>
          <a:p>
            <a:pPr>
              <a:lnSpc>
                <a:spcPct val="100000"/>
              </a:lnSpc>
            </a:pPr>
            <a:r>
              <a:rPr lang="da-DK" b="1" dirty="0"/>
              <a:t>Long Short-Term Memory Networks (LSTM)</a:t>
            </a:r>
            <a:r>
              <a:rPr lang="da-DK" dirty="0"/>
              <a:t>: En type regressiv neuralt netværk designet til at håndtere sekventielle eller tidsseriebaserede data.</a:t>
            </a:r>
          </a:p>
          <a:p>
            <a:pPr lvl="1">
              <a:lnSpc>
                <a:spcPct val="100000"/>
              </a:lnSpc>
            </a:pPr>
            <a:r>
              <a:rPr lang="da-DK" dirty="0"/>
              <a:t>Kan huske tidligere information i en sekvens og bruge den til at producere mere nøjagtige forudsigelser om fremtidige punkter i sekvensen.</a:t>
            </a:r>
          </a:p>
          <a:p>
            <a:pPr lvl="1">
              <a:lnSpc>
                <a:spcPct val="100000"/>
              </a:lnSpc>
            </a:pPr>
            <a:r>
              <a:rPr lang="da-DK" dirty="0"/>
              <a:t>Ideel til komplekse tidsseriedata, som ofte findes i økonomiske og byggetekniske projekter.</a:t>
            </a:r>
          </a:p>
          <a:p>
            <a:pPr lvl="1">
              <a:lnSpc>
                <a:spcPct val="100000"/>
              </a:lnSpc>
            </a:pPr>
            <a:r>
              <a:rPr lang="da-DK" dirty="0"/>
              <a:t>Mindre følsom over for sekvenslængde og i stand til at fange langsigtede afhængigheder, hvilket gør den robust i forhold til andre tidsserieforudsigelsesmetoder.</a:t>
            </a:r>
          </a:p>
          <a:p>
            <a:pPr>
              <a:lnSpc>
                <a:spcPct val="100000"/>
              </a:lnSpc>
            </a:pPr>
            <a:endParaRPr lang="da-DK" dirty="0"/>
          </a:p>
        </p:txBody>
      </p:sp>
    </p:spTree>
    <p:extLst>
      <p:ext uri="{BB962C8B-B14F-4D97-AF65-F5344CB8AC3E}">
        <p14:creationId xmlns:p14="http://schemas.microsoft.com/office/powerpoint/2010/main" val="3780667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a:t>Cross-Learning</a:t>
            </a:r>
            <a:r>
              <a:rPr lang="da-DK"/>
              <a:t>:</a:t>
            </a:r>
            <a:endParaRPr lang="da-DK" b="1" dirty="0"/>
          </a:p>
        </p:txBody>
      </p:sp>
    </p:spTree>
    <p:extLst>
      <p:ext uri="{BB962C8B-B14F-4D97-AF65-F5344CB8AC3E}">
        <p14:creationId xmlns:p14="http://schemas.microsoft.com/office/powerpoint/2010/main" val="34440267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POWER_USER_PPT_AGENDA_PRESENTATION_COLOR_TAG" val="#006E64"/>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TABLE_OF_CONTENT_STYLE_TAG" val="1"/>
  <p:tag name="POWER_USER_PPT_AGENDA_PRESENTATION_DIVIDERS_STYLE_TAG" val="POWER_USER_LAYOUT_DIVIDER_PU_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400,4499"/>
  <p:tag name="ORIGINALWIDTH" val="1961,005"/>
  <p:tag name="OUTPUTTYPE" val="PNG"/>
  <p:tag name="IGUANATEXVERSION" val="160"/>
  <p:tag name="LATEXADDIN" val="\documentclass{article}&#10;\usepackage{amsmath}&#10;\pagestyle{empty}&#10;\begin{document}&#10;&#10;\begin{equation*}&#10;\Phi(x;\mu,\nu)=\left[1+\left(\frac{x(1-\mu)}{\mu(1-x)}\right)^{-\nu}\right]^{-1}&#10;\end{equation*}&#10;&#10;&#10;\end{document}"/>
  <p:tag name="IGUANATEXSIZE" val="20"/>
  <p:tag name="IGUANATEXCURSOR" val="185"/>
  <p:tag name="TRANSPARENCY" val="True"/>
  <p:tag name="LATEXENGINEID" val="0"/>
  <p:tag name="TEMPFOLDER" val="c:\temp\"/>
  <p:tag name="LATEXFORMHEIGHT" val="320"/>
  <p:tag name="LATEXFORMWIDTH" val="385"/>
  <p:tag name="LATEXFORMWRAP" val="True"/>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Gi">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t">
        <a:noAutofit/>
      </a:bodyP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a:buNone/>
          <a:defRPr smtClean="0">
            <a:solidFill>
              <a:schemeClr val="accent1"/>
            </a:solidFill>
          </a:defRPr>
        </a:defPPr>
      </a:lstStyle>
    </a:txDef>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Powerpointskabelon_NRGi Elcon.pptx" id="{412641EB-9A04-4143-93A3-8ACC1CCD6C87}" vid="{A6BF625A-0080-43A5-9EBA-2F8D86D9ED34}"/>
    </a:ext>
  </a:extLst>
</a:theme>
</file>

<file path=ppt/theme/theme2.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73</TotalTime>
  <Words>1805</Words>
  <Application>Microsoft Office PowerPoint</Application>
  <PresentationFormat>Widescreen</PresentationFormat>
  <Paragraphs>259</Paragraphs>
  <Slides>25</Slides>
  <Notes>25</Notes>
  <HiddenSlides>4</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25</vt:i4>
      </vt:variant>
    </vt:vector>
  </HeadingPairs>
  <TitlesOfParts>
    <vt:vector size="32" baseType="lpstr">
      <vt:lpstr>Arial</vt:lpstr>
      <vt:lpstr>Calibri</vt:lpstr>
      <vt:lpstr>Cambria Math</vt:lpstr>
      <vt:lpstr>Corbel</vt:lpstr>
      <vt:lpstr>Söhne</vt:lpstr>
      <vt:lpstr>NRGi</vt:lpstr>
      <vt:lpstr>think-cell Slide</vt:lpstr>
      <vt:lpstr>Risikovurdering af entrepriseprojekter</vt:lpstr>
      <vt:lpstr>Disposition</vt:lpstr>
      <vt:lpstr>Disposition</vt:lpstr>
      <vt:lpstr>Kan maskinlæringsmodeller præcist forudsige marginer og risici på tværs af ELCONs forskellige entrepriseprojekter? </vt:lpstr>
      <vt:lpstr>PowerPoint-præsentation</vt:lpstr>
      <vt:lpstr>Disposition</vt:lpstr>
      <vt:lpstr>Videnskabelige metoder</vt:lpstr>
      <vt:lpstr>Videnskabelige metoder</vt:lpstr>
      <vt:lpstr>Videnskabelige metoder</vt:lpstr>
      <vt:lpstr>Videnskabelige metoder</vt:lpstr>
      <vt:lpstr>Disposition</vt:lpstr>
      <vt:lpstr>Datagrundlag</vt:lpstr>
      <vt:lpstr>Datagrundlag</vt:lpstr>
      <vt:lpstr>Datagrundlag</vt:lpstr>
      <vt:lpstr>Disposition</vt:lpstr>
      <vt:lpstr>Analyse</vt:lpstr>
      <vt:lpstr>Analyse</vt:lpstr>
      <vt:lpstr>Disposition</vt:lpstr>
      <vt:lpstr>Resultater</vt:lpstr>
      <vt:lpstr>Resultater</vt:lpstr>
      <vt:lpstr>Resultater</vt:lpstr>
      <vt:lpstr>Resultater</vt:lpstr>
      <vt:lpstr>Resultater</vt:lpstr>
      <vt:lpstr>Disposition</vt:lpstr>
      <vt:lpstr>Diskussion af resultat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sk Risikovurdering</dc:title>
  <dc:creator>Tobias Brammer</dc:creator>
  <cp:lastModifiedBy>Tobias Brammer</cp:lastModifiedBy>
  <cp:revision>3</cp:revision>
  <cp:lastPrinted>2021-01-06T12:41:59Z</cp:lastPrinted>
  <dcterms:created xsi:type="dcterms:W3CDTF">2023-02-21T13:26:08Z</dcterms:created>
  <dcterms:modified xsi:type="dcterms:W3CDTF">2023-11-20T13:49:28Z</dcterms:modified>
</cp:coreProperties>
</file>